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tmp" ContentType="image/png"/>
  <Default Extension="svg" ContentType="image/svg+xml"/>
  <Default Extension="emf" ContentType="image/x-emf"/>
  <Default Extension="m4a" ContentType="audio/mp4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notesMasterIdLst>
    <p:notesMasterId r:id="rId9"/>
  </p:notesMasterIdLst>
  <p:sldIdLst>
    <p:sldId id="340" r:id="rId2"/>
    <p:sldId id="339" r:id="rId3"/>
    <p:sldId id="331" r:id="rId4"/>
    <p:sldId id="336" r:id="rId5"/>
    <p:sldId id="337" r:id="rId6"/>
    <p:sldId id="275" r:id="rId7"/>
    <p:sldId id="332" r:id="rId8"/>
  </p:sldIdLst>
  <p:sldSz cx="12192000" cy="6858000"/>
  <p:notesSz cx="6858000" cy="9144000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äsentation" id="{EA113B14-3A85-4FE0-AB85-9FEF99E6C139}">
          <p14:sldIdLst>
            <p14:sldId id="340"/>
            <p14:sldId id="339"/>
            <p14:sldId id="331"/>
            <p14:sldId id="336"/>
            <p14:sldId id="337"/>
            <p14:sldId id="275"/>
            <p14:sldId id="33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B8441"/>
    <a:srgbClr val="F6B26B"/>
    <a:srgbClr val="4DA2CF"/>
    <a:srgbClr val="D7F1FF"/>
    <a:srgbClr val="000000"/>
    <a:srgbClr val="5C534E"/>
    <a:srgbClr val="D4EFFF"/>
    <a:srgbClr val="B4A7D6"/>
    <a:srgbClr val="20124D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6C6402A-21BA-4949-B56A-9B7B00603204}" v="171" dt="2020-12-06T11:49:54.01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167" autoAdjust="0"/>
    <p:restoredTop sz="94609" autoAdjust="0"/>
  </p:normalViewPr>
  <p:slideViewPr>
    <p:cSldViewPr snapToGrid="0">
      <p:cViewPr varScale="1">
        <p:scale>
          <a:sx n="62" d="100"/>
          <a:sy n="62" d="100"/>
        </p:scale>
        <p:origin x="562" y="38"/>
      </p:cViewPr>
      <p:guideLst>
        <p:guide orient="horz" pos="2183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EE856A-40C6-4CF6-98E7-D2CE561900E1}" type="datetimeFigureOut">
              <a:rPr lang="de-DE" smtClean="0"/>
              <a:t>28.02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799D428-ED30-477C-9C9D-A2E22722288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12926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6" name="Google Shape;536;g8c073b35a6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37" name="Google Shape;537;g8c073b35a6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8447536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6" name="Google Shape;536;g8c073b35a6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37" name="Google Shape;537;g8c073b35a6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831830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5" name="Google Shape;915;g8c073b35a6_0_211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16" name="Google Shape;916;g8c073b35a6_0_211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BF4418A-6085-4652-B156-F2B976053C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E68DDD2-3387-4560-B76B-3C07BA163F7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232CF8B-7036-4C1C-8A55-BED73D94FE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386B5A-9CDE-4837-BB31-268E96D60C92}" type="datetimeFigureOut">
              <a:rPr lang="de-DE" smtClean="0"/>
              <a:t>28.0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2F9BD91-62B0-4DF1-A637-8525B068CF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30257C4-35B8-41A6-9D63-F9D2CF4869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81E64-D96B-45E5-8FF2-05996CFDC9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80369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A06B16-4E76-4947-ACCE-00EE807436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6BB5C516-335A-4BD1-AAAB-E1DEE2BC8D0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F18D943-3983-4121-A4DD-508F94063E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386B5A-9CDE-4837-BB31-268E96D60C92}" type="datetimeFigureOut">
              <a:rPr lang="de-DE" smtClean="0"/>
              <a:t>28.0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4299A7-98A0-4769-B46B-F1DC6842C5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95D28B8-A793-4383-9FB7-2E092ED68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81E64-D96B-45E5-8FF2-05996CFDC9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712535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68CFBA32-6EEE-4DEE-9444-1F7A815D642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B30977C9-1A41-4DE1-8A4B-2310CA6FBD8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A87D795-0975-4247-BC15-FBA0BDF09F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386B5A-9CDE-4837-BB31-268E96D60C92}" type="datetimeFigureOut">
              <a:rPr lang="de-DE" smtClean="0"/>
              <a:t>28.0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22DD57A-A9F6-4096-8BCD-E63693DD04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3D6BF39-CF7A-4BAC-9B1C-47F1269AC4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81E64-D96B-45E5-8FF2-05996CFDC9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36560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 ">
  <p:cSld name="Title and three columns "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Google Shape;127;p15"/>
          <p:cNvSpPr txBox="1">
            <a:spLocks noGrp="1"/>
          </p:cNvSpPr>
          <p:nvPr>
            <p:ph type="title"/>
          </p:nvPr>
        </p:nvSpPr>
        <p:spPr>
          <a:xfrm>
            <a:off x="2249833" y="523867"/>
            <a:ext cx="7692400" cy="688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1pPr>
            <a:lvl2pPr lvl="1" algn="ctr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swald"/>
                <a:ea typeface="Oswald"/>
                <a:cs typeface="Oswald"/>
                <a:sym typeface="Oswald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swald"/>
                <a:ea typeface="Oswald"/>
                <a:cs typeface="Oswald"/>
                <a:sym typeface="Oswald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swald"/>
                <a:ea typeface="Oswald"/>
                <a:cs typeface="Oswald"/>
                <a:sym typeface="Oswald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swald"/>
                <a:ea typeface="Oswald"/>
                <a:cs typeface="Oswald"/>
                <a:sym typeface="Oswald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swald"/>
                <a:ea typeface="Oswald"/>
                <a:cs typeface="Oswald"/>
                <a:sym typeface="Oswald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swald"/>
                <a:ea typeface="Oswald"/>
                <a:cs typeface="Oswald"/>
                <a:sym typeface="Oswald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swald"/>
                <a:ea typeface="Oswald"/>
                <a:cs typeface="Oswald"/>
                <a:sym typeface="Oswald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endParaRPr/>
          </a:p>
        </p:txBody>
      </p:sp>
      <p:sp>
        <p:nvSpPr>
          <p:cNvPr id="128" name="Google Shape;128;p15"/>
          <p:cNvSpPr txBox="1">
            <a:spLocks noGrp="1"/>
          </p:cNvSpPr>
          <p:nvPr>
            <p:ph type="subTitle" idx="1"/>
          </p:nvPr>
        </p:nvSpPr>
        <p:spPr>
          <a:xfrm>
            <a:off x="1502412" y="3496451"/>
            <a:ext cx="2246800" cy="41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rgbClr val="F6B26B"/>
                </a:solidFill>
              </a:defRPr>
            </a:lvl1pPr>
            <a:lvl2pPr lvl="1" algn="ctr" rtl="0">
              <a:spcBef>
                <a:spcPts val="2133"/>
              </a:spcBef>
              <a:spcAft>
                <a:spcPts val="0"/>
              </a:spcAft>
              <a:buNone/>
              <a:defRPr sz="2400" b="1">
                <a:solidFill>
                  <a:srgbClr val="F6B26B"/>
                </a:solidFill>
              </a:defRPr>
            </a:lvl2pPr>
            <a:lvl3pPr lvl="2" algn="ctr" rtl="0">
              <a:spcBef>
                <a:spcPts val="2133"/>
              </a:spcBef>
              <a:spcAft>
                <a:spcPts val="0"/>
              </a:spcAft>
              <a:buNone/>
              <a:defRPr sz="2400" b="1">
                <a:solidFill>
                  <a:srgbClr val="F6B26B"/>
                </a:solidFill>
              </a:defRPr>
            </a:lvl3pPr>
            <a:lvl4pPr lvl="3" algn="ctr" rtl="0">
              <a:spcBef>
                <a:spcPts val="2133"/>
              </a:spcBef>
              <a:spcAft>
                <a:spcPts val="0"/>
              </a:spcAft>
              <a:buNone/>
              <a:defRPr sz="2400" b="1">
                <a:solidFill>
                  <a:srgbClr val="F6B26B"/>
                </a:solidFill>
              </a:defRPr>
            </a:lvl4pPr>
            <a:lvl5pPr lvl="4" algn="ctr" rtl="0">
              <a:spcBef>
                <a:spcPts val="2133"/>
              </a:spcBef>
              <a:spcAft>
                <a:spcPts val="0"/>
              </a:spcAft>
              <a:buNone/>
              <a:defRPr sz="2400" b="1">
                <a:solidFill>
                  <a:srgbClr val="F6B26B"/>
                </a:solidFill>
              </a:defRPr>
            </a:lvl5pPr>
            <a:lvl6pPr lvl="5" algn="ctr" rtl="0">
              <a:spcBef>
                <a:spcPts val="2133"/>
              </a:spcBef>
              <a:spcAft>
                <a:spcPts val="0"/>
              </a:spcAft>
              <a:buNone/>
              <a:defRPr sz="2400" b="1">
                <a:solidFill>
                  <a:srgbClr val="F6B26B"/>
                </a:solidFill>
              </a:defRPr>
            </a:lvl6pPr>
            <a:lvl7pPr lvl="6" algn="ctr" rtl="0">
              <a:spcBef>
                <a:spcPts val="2133"/>
              </a:spcBef>
              <a:spcAft>
                <a:spcPts val="0"/>
              </a:spcAft>
              <a:buNone/>
              <a:defRPr sz="2400" b="1">
                <a:solidFill>
                  <a:srgbClr val="F6B26B"/>
                </a:solidFill>
              </a:defRPr>
            </a:lvl7pPr>
            <a:lvl8pPr lvl="7" algn="ctr" rtl="0">
              <a:spcBef>
                <a:spcPts val="2133"/>
              </a:spcBef>
              <a:spcAft>
                <a:spcPts val="0"/>
              </a:spcAft>
              <a:buNone/>
              <a:defRPr sz="2400" b="1">
                <a:solidFill>
                  <a:srgbClr val="F6B26B"/>
                </a:solidFill>
              </a:defRPr>
            </a:lvl8pPr>
            <a:lvl9pPr lvl="8" algn="ctr" rtl="0">
              <a:spcBef>
                <a:spcPts val="2133"/>
              </a:spcBef>
              <a:spcAft>
                <a:spcPts val="2133"/>
              </a:spcAft>
              <a:buNone/>
              <a:defRPr sz="2400" b="1">
                <a:solidFill>
                  <a:srgbClr val="F6B26B"/>
                </a:solidFill>
              </a:defRPr>
            </a:lvl9pPr>
          </a:lstStyle>
          <a:p>
            <a:endParaRPr/>
          </a:p>
        </p:txBody>
      </p:sp>
      <p:sp>
        <p:nvSpPr>
          <p:cNvPr id="129" name="Google Shape;129;p15"/>
          <p:cNvSpPr txBox="1">
            <a:spLocks noGrp="1"/>
          </p:cNvSpPr>
          <p:nvPr>
            <p:ph type="subTitle" idx="2"/>
          </p:nvPr>
        </p:nvSpPr>
        <p:spPr>
          <a:xfrm>
            <a:off x="1320833" y="3897449"/>
            <a:ext cx="2609600" cy="127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867">
                <a:latin typeface="Lato"/>
                <a:ea typeface="Lato"/>
                <a:cs typeface="Lato"/>
                <a:sym typeface="Lato"/>
              </a:defRPr>
            </a:lvl1pPr>
            <a:lvl2pPr lvl="1" algn="ctr" rtl="0">
              <a:spcBef>
                <a:spcPts val="2133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2pPr>
            <a:lvl3pPr lvl="2" algn="ctr" rtl="0">
              <a:spcBef>
                <a:spcPts val="2133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3pPr>
            <a:lvl4pPr lvl="3" algn="ctr" rtl="0">
              <a:spcBef>
                <a:spcPts val="2133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4pPr>
            <a:lvl5pPr lvl="4" algn="ctr" rtl="0">
              <a:spcBef>
                <a:spcPts val="2133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5pPr>
            <a:lvl6pPr lvl="5" algn="ctr" rtl="0">
              <a:spcBef>
                <a:spcPts val="2133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6pPr>
            <a:lvl7pPr lvl="6" algn="ctr" rtl="0">
              <a:spcBef>
                <a:spcPts val="2133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7pPr>
            <a:lvl8pPr lvl="7" algn="ctr" rtl="0">
              <a:spcBef>
                <a:spcPts val="2133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8pPr>
            <a:lvl9pPr lvl="8" algn="ctr" rtl="0">
              <a:spcBef>
                <a:spcPts val="2133"/>
              </a:spcBef>
              <a:spcAft>
                <a:spcPts val="2133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130" name="Google Shape;130;p15"/>
          <p:cNvSpPr txBox="1">
            <a:spLocks noGrp="1"/>
          </p:cNvSpPr>
          <p:nvPr>
            <p:ph type="subTitle" idx="3"/>
          </p:nvPr>
        </p:nvSpPr>
        <p:spPr>
          <a:xfrm>
            <a:off x="4972612" y="3496451"/>
            <a:ext cx="2246800" cy="41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rgbClr val="F6B26B"/>
                </a:solidFill>
              </a:defRPr>
            </a:lvl1pPr>
            <a:lvl2pPr lvl="1" algn="ctr" rtl="0">
              <a:spcBef>
                <a:spcPts val="2133"/>
              </a:spcBef>
              <a:spcAft>
                <a:spcPts val="0"/>
              </a:spcAft>
              <a:buNone/>
              <a:defRPr sz="2400" b="1">
                <a:solidFill>
                  <a:srgbClr val="F6B26B"/>
                </a:solidFill>
              </a:defRPr>
            </a:lvl2pPr>
            <a:lvl3pPr lvl="2" algn="ctr" rtl="0">
              <a:spcBef>
                <a:spcPts val="2133"/>
              </a:spcBef>
              <a:spcAft>
                <a:spcPts val="0"/>
              </a:spcAft>
              <a:buNone/>
              <a:defRPr sz="2400" b="1">
                <a:solidFill>
                  <a:srgbClr val="F6B26B"/>
                </a:solidFill>
              </a:defRPr>
            </a:lvl3pPr>
            <a:lvl4pPr lvl="3" algn="ctr" rtl="0">
              <a:spcBef>
                <a:spcPts val="2133"/>
              </a:spcBef>
              <a:spcAft>
                <a:spcPts val="0"/>
              </a:spcAft>
              <a:buNone/>
              <a:defRPr sz="2400" b="1">
                <a:solidFill>
                  <a:srgbClr val="F6B26B"/>
                </a:solidFill>
              </a:defRPr>
            </a:lvl4pPr>
            <a:lvl5pPr lvl="4" algn="ctr" rtl="0">
              <a:spcBef>
                <a:spcPts val="2133"/>
              </a:spcBef>
              <a:spcAft>
                <a:spcPts val="0"/>
              </a:spcAft>
              <a:buNone/>
              <a:defRPr sz="2400" b="1">
                <a:solidFill>
                  <a:srgbClr val="F6B26B"/>
                </a:solidFill>
              </a:defRPr>
            </a:lvl5pPr>
            <a:lvl6pPr lvl="5" algn="ctr" rtl="0">
              <a:spcBef>
                <a:spcPts val="2133"/>
              </a:spcBef>
              <a:spcAft>
                <a:spcPts val="0"/>
              </a:spcAft>
              <a:buNone/>
              <a:defRPr sz="2400" b="1">
                <a:solidFill>
                  <a:srgbClr val="F6B26B"/>
                </a:solidFill>
              </a:defRPr>
            </a:lvl6pPr>
            <a:lvl7pPr lvl="6" algn="ctr" rtl="0">
              <a:spcBef>
                <a:spcPts val="2133"/>
              </a:spcBef>
              <a:spcAft>
                <a:spcPts val="0"/>
              </a:spcAft>
              <a:buNone/>
              <a:defRPr sz="2400" b="1">
                <a:solidFill>
                  <a:srgbClr val="F6B26B"/>
                </a:solidFill>
              </a:defRPr>
            </a:lvl7pPr>
            <a:lvl8pPr lvl="7" algn="ctr" rtl="0">
              <a:spcBef>
                <a:spcPts val="2133"/>
              </a:spcBef>
              <a:spcAft>
                <a:spcPts val="0"/>
              </a:spcAft>
              <a:buNone/>
              <a:defRPr sz="2400" b="1">
                <a:solidFill>
                  <a:srgbClr val="F6B26B"/>
                </a:solidFill>
              </a:defRPr>
            </a:lvl8pPr>
            <a:lvl9pPr lvl="8" algn="ctr" rtl="0">
              <a:spcBef>
                <a:spcPts val="2133"/>
              </a:spcBef>
              <a:spcAft>
                <a:spcPts val="2133"/>
              </a:spcAft>
              <a:buNone/>
              <a:defRPr sz="2400" b="1">
                <a:solidFill>
                  <a:srgbClr val="F6B26B"/>
                </a:solidFill>
              </a:defRPr>
            </a:lvl9pPr>
          </a:lstStyle>
          <a:p>
            <a:endParaRPr/>
          </a:p>
        </p:txBody>
      </p:sp>
      <p:sp>
        <p:nvSpPr>
          <p:cNvPr id="131" name="Google Shape;131;p15"/>
          <p:cNvSpPr txBox="1">
            <a:spLocks noGrp="1"/>
          </p:cNvSpPr>
          <p:nvPr>
            <p:ph type="subTitle" idx="4"/>
          </p:nvPr>
        </p:nvSpPr>
        <p:spPr>
          <a:xfrm>
            <a:off x="4791200" y="3897449"/>
            <a:ext cx="2609600" cy="127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867">
                <a:latin typeface="Lato"/>
                <a:ea typeface="Lato"/>
                <a:cs typeface="Lato"/>
                <a:sym typeface="Lato"/>
              </a:defRPr>
            </a:lvl1pPr>
            <a:lvl2pPr lvl="1" algn="ctr" rtl="0">
              <a:spcBef>
                <a:spcPts val="2133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2pPr>
            <a:lvl3pPr lvl="2" algn="ctr" rtl="0">
              <a:spcBef>
                <a:spcPts val="2133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3pPr>
            <a:lvl4pPr lvl="3" algn="ctr" rtl="0">
              <a:spcBef>
                <a:spcPts val="2133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4pPr>
            <a:lvl5pPr lvl="4" algn="ctr" rtl="0">
              <a:spcBef>
                <a:spcPts val="2133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5pPr>
            <a:lvl6pPr lvl="5" algn="ctr" rtl="0">
              <a:spcBef>
                <a:spcPts val="2133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6pPr>
            <a:lvl7pPr lvl="6" algn="ctr" rtl="0">
              <a:spcBef>
                <a:spcPts val="2133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7pPr>
            <a:lvl8pPr lvl="7" algn="ctr" rtl="0">
              <a:spcBef>
                <a:spcPts val="2133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8pPr>
            <a:lvl9pPr lvl="8" algn="ctr" rtl="0">
              <a:spcBef>
                <a:spcPts val="2133"/>
              </a:spcBef>
              <a:spcAft>
                <a:spcPts val="2133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132" name="Google Shape;132;p15"/>
          <p:cNvSpPr txBox="1">
            <a:spLocks noGrp="1"/>
          </p:cNvSpPr>
          <p:nvPr>
            <p:ph type="subTitle" idx="5"/>
          </p:nvPr>
        </p:nvSpPr>
        <p:spPr>
          <a:xfrm>
            <a:off x="8442812" y="3496451"/>
            <a:ext cx="2246800" cy="41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rgbClr val="F6B26B"/>
                </a:solidFill>
              </a:defRPr>
            </a:lvl1pPr>
            <a:lvl2pPr lvl="1" algn="ctr" rtl="0">
              <a:spcBef>
                <a:spcPts val="2133"/>
              </a:spcBef>
              <a:spcAft>
                <a:spcPts val="0"/>
              </a:spcAft>
              <a:buNone/>
              <a:defRPr sz="2400" b="1">
                <a:solidFill>
                  <a:srgbClr val="F6B26B"/>
                </a:solidFill>
              </a:defRPr>
            </a:lvl2pPr>
            <a:lvl3pPr lvl="2" algn="ctr" rtl="0">
              <a:spcBef>
                <a:spcPts val="2133"/>
              </a:spcBef>
              <a:spcAft>
                <a:spcPts val="0"/>
              </a:spcAft>
              <a:buNone/>
              <a:defRPr sz="2400" b="1">
                <a:solidFill>
                  <a:srgbClr val="F6B26B"/>
                </a:solidFill>
              </a:defRPr>
            </a:lvl3pPr>
            <a:lvl4pPr lvl="3" algn="ctr" rtl="0">
              <a:spcBef>
                <a:spcPts val="2133"/>
              </a:spcBef>
              <a:spcAft>
                <a:spcPts val="0"/>
              </a:spcAft>
              <a:buNone/>
              <a:defRPr sz="2400" b="1">
                <a:solidFill>
                  <a:srgbClr val="F6B26B"/>
                </a:solidFill>
              </a:defRPr>
            </a:lvl4pPr>
            <a:lvl5pPr lvl="4" algn="ctr" rtl="0">
              <a:spcBef>
                <a:spcPts val="2133"/>
              </a:spcBef>
              <a:spcAft>
                <a:spcPts val="0"/>
              </a:spcAft>
              <a:buNone/>
              <a:defRPr sz="2400" b="1">
                <a:solidFill>
                  <a:srgbClr val="F6B26B"/>
                </a:solidFill>
              </a:defRPr>
            </a:lvl5pPr>
            <a:lvl6pPr lvl="5" algn="ctr" rtl="0">
              <a:spcBef>
                <a:spcPts val="2133"/>
              </a:spcBef>
              <a:spcAft>
                <a:spcPts val="0"/>
              </a:spcAft>
              <a:buNone/>
              <a:defRPr sz="2400" b="1">
                <a:solidFill>
                  <a:srgbClr val="F6B26B"/>
                </a:solidFill>
              </a:defRPr>
            </a:lvl6pPr>
            <a:lvl7pPr lvl="6" algn="ctr" rtl="0">
              <a:spcBef>
                <a:spcPts val="2133"/>
              </a:spcBef>
              <a:spcAft>
                <a:spcPts val="0"/>
              </a:spcAft>
              <a:buNone/>
              <a:defRPr sz="2400" b="1">
                <a:solidFill>
                  <a:srgbClr val="F6B26B"/>
                </a:solidFill>
              </a:defRPr>
            </a:lvl7pPr>
            <a:lvl8pPr lvl="7" algn="ctr" rtl="0">
              <a:spcBef>
                <a:spcPts val="2133"/>
              </a:spcBef>
              <a:spcAft>
                <a:spcPts val="0"/>
              </a:spcAft>
              <a:buNone/>
              <a:defRPr sz="2400" b="1">
                <a:solidFill>
                  <a:srgbClr val="F6B26B"/>
                </a:solidFill>
              </a:defRPr>
            </a:lvl8pPr>
            <a:lvl9pPr lvl="8" algn="ctr" rtl="0">
              <a:spcBef>
                <a:spcPts val="2133"/>
              </a:spcBef>
              <a:spcAft>
                <a:spcPts val="2133"/>
              </a:spcAft>
              <a:buNone/>
              <a:defRPr sz="2400" b="1">
                <a:solidFill>
                  <a:srgbClr val="F6B26B"/>
                </a:solidFill>
              </a:defRPr>
            </a:lvl9pPr>
          </a:lstStyle>
          <a:p>
            <a:endParaRPr/>
          </a:p>
        </p:txBody>
      </p:sp>
      <p:sp>
        <p:nvSpPr>
          <p:cNvPr id="133" name="Google Shape;133;p15"/>
          <p:cNvSpPr txBox="1">
            <a:spLocks noGrp="1"/>
          </p:cNvSpPr>
          <p:nvPr>
            <p:ph type="subTitle" idx="6"/>
          </p:nvPr>
        </p:nvSpPr>
        <p:spPr>
          <a:xfrm>
            <a:off x="8261567" y="3897449"/>
            <a:ext cx="2609600" cy="127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867">
                <a:latin typeface="Lato"/>
                <a:ea typeface="Lato"/>
                <a:cs typeface="Lato"/>
                <a:sym typeface="Lato"/>
              </a:defRPr>
            </a:lvl1pPr>
            <a:lvl2pPr lvl="1" algn="ctr" rtl="0">
              <a:spcBef>
                <a:spcPts val="2133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2pPr>
            <a:lvl3pPr lvl="2" algn="ctr" rtl="0">
              <a:spcBef>
                <a:spcPts val="2133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3pPr>
            <a:lvl4pPr lvl="3" algn="ctr" rtl="0">
              <a:spcBef>
                <a:spcPts val="2133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4pPr>
            <a:lvl5pPr lvl="4" algn="ctr" rtl="0">
              <a:spcBef>
                <a:spcPts val="2133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5pPr>
            <a:lvl6pPr lvl="5" algn="ctr" rtl="0">
              <a:spcBef>
                <a:spcPts val="2133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6pPr>
            <a:lvl7pPr lvl="6" algn="ctr" rtl="0">
              <a:spcBef>
                <a:spcPts val="2133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7pPr>
            <a:lvl8pPr lvl="7" algn="ctr" rtl="0">
              <a:spcBef>
                <a:spcPts val="2133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8pPr>
            <a:lvl9pPr lvl="8" algn="ctr" rtl="0">
              <a:spcBef>
                <a:spcPts val="2133"/>
              </a:spcBef>
              <a:spcAft>
                <a:spcPts val="2133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692998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 2">
  <p:cSld name="Title and three columns 2">
    <p:spTree>
      <p:nvGrpSpPr>
        <p:cNvPr id="1" name="Shape 1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Google Shape;151;p17"/>
          <p:cNvSpPr txBox="1">
            <a:spLocks noGrp="1"/>
          </p:cNvSpPr>
          <p:nvPr>
            <p:ph type="title"/>
          </p:nvPr>
        </p:nvSpPr>
        <p:spPr>
          <a:xfrm>
            <a:off x="3561100" y="520507"/>
            <a:ext cx="5070000" cy="69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swald"/>
                <a:ea typeface="Oswald"/>
                <a:cs typeface="Oswald"/>
                <a:sym typeface="Oswald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swald"/>
                <a:ea typeface="Oswald"/>
                <a:cs typeface="Oswald"/>
                <a:sym typeface="Oswald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swald"/>
                <a:ea typeface="Oswald"/>
                <a:cs typeface="Oswald"/>
                <a:sym typeface="Oswald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swald"/>
                <a:ea typeface="Oswald"/>
                <a:cs typeface="Oswald"/>
                <a:sym typeface="Oswald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swald"/>
                <a:ea typeface="Oswald"/>
                <a:cs typeface="Oswald"/>
                <a:sym typeface="Oswald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swald"/>
                <a:ea typeface="Oswald"/>
                <a:cs typeface="Oswald"/>
                <a:sym typeface="Oswald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swald"/>
                <a:ea typeface="Oswald"/>
                <a:cs typeface="Oswald"/>
                <a:sym typeface="Oswald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endParaRPr/>
          </a:p>
        </p:txBody>
      </p:sp>
      <p:sp>
        <p:nvSpPr>
          <p:cNvPr id="152" name="Google Shape;152;p17"/>
          <p:cNvSpPr txBox="1">
            <a:spLocks noGrp="1"/>
          </p:cNvSpPr>
          <p:nvPr>
            <p:ph type="subTitle" idx="1"/>
          </p:nvPr>
        </p:nvSpPr>
        <p:spPr>
          <a:xfrm>
            <a:off x="843568" y="4509133"/>
            <a:ext cx="3058800" cy="41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800" b="1">
                <a:solidFill>
                  <a:srgbClr val="F6B26B"/>
                </a:solidFill>
              </a:defRPr>
            </a:lvl1pPr>
            <a:lvl2pPr lvl="1" algn="ctr" rtl="0">
              <a:spcBef>
                <a:spcPts val="2133"/>
              </a:spcBef>
              <a:spcAft>
                <a:spcPts val="0"/>
              </a:spcAft>
              <a:buNone/>
              <a:defRPr sz="2800" b="1">
                <a:solidFill>
                  <a:srgbClr val="F6B26B"/>
                </a:solidFill>
              </a:defRPr>
            </a:lvl2pPr>
            <a:lvl3pPr lvl="2" algn="ctr" rtl="0">
              <a:spcBef>
                <a:spcPts val="2133"/>
              </a:spcBef>
              <a:spcAft>
                <a:spcPts val="0"/>
              </a:spcAft>
              <a:buNone/>
              <a:defRPr sz="2800" b="1">
                <a:solidFill>
                  <a:srgbClr val="F6B26B"/>
                </a:solidFill>
              </a:defRPr>
            </a:lvl3pPr>
            <a:lvl4pPr lvl="3" algn="ctr" rtl="0">
              <a:spcBef>
                <a:spcPts val="2133"/>
              </a:spcBef>
              <a:spcAft>
                <a:spcPts val="0"/>
              </a:spcAft>
              <a:buNone/>
              <a:defRPr sz="2800" b="1">
                <a:solidFill>
                  <a:srgbClr val="F6B26B"/>
                </a:solidFill>
              </a:defRPr>
            </a:lvl4pPr>
            <a:lvl5pPr lvl="4" algn="ctr" rtl="0">
              <a:spcBef>
                <a:spcPts val="2133"/>
              </a:spcBef>
              <a:spcAft>
                <a:spcPts val="0"/>
              </a:spcAft>
              <a:buNone/>
              <a:defRPr sz="2800" b="1">
                <a:solidFill>
                  <a:srgbClr val="F6B26B"/>
                </a:solidFill>
              </a:defRPr>
            </a:lvl5pPr>
            <a:lvl6pPr lvl="5" algn="ctr" rtl="0">
              <a:spcBef>
                <a:spcPts val="2133"/>
              </a:spcBef>
              <a:spcAft>
                <a:spcPts val="0"/>
              </a:spcAft>
              <a:buNone/>
              <a:defRPr sz="2800" b="1">
                <a:solidFill>
                  <a:srgbClr val="F6B26B"/>
                </a:solidFill>
              </a:defRPr>
            </a:lvl6pPr>
            <a:lvl7pPr lvl="6" algn="ctr" rtl="0">
              <a:spcBef>
                <a:spcPts val="2133"/>
              </a:spcBef>
              <a:spcAft>
                <a:spcPts val="0"/>
              </a:spcAft>
              <a:buNone/>
              <a:defRPr sz="2800" b="1">
                <a:solidFill>
                  <a:srgbClr val="F6B26B"/>
                </a:solidFill>
              </a:defRPr>
            </a:lvl7pPr>
            <a:lvl8pPr lvl="7" algn="ctr" rtl="0">
              <a:spcBef>
                <a:spcPts val="2133"/>
              </a:spcBef>
              <a:spcAft>
                <a:spcPts val="0"/>
              </a:spcAft>
              <a:buNone/>
              <a:defRPr sz="2800" b="1">
                <a:solidFill>
                  <a:srgbClr val="F6B26B"/>
                </a:solidFill>
              </a:defRPr>
            </a:lvl8pPr>
            <a:lvl9pPr lvl="8" algn="ctr" rtl="0">
              <a:spcBef>
                <a:spcPts val="2133"/>
              </a:spcBef>
              <a:spcAft>
                <a:spcPts val="2133"/>
              </a:spcAft>
              <a:buNone/>
              <a:defRPr sz="2800" b="1">
                <a:solidFill>
                  <a:srgbClr val="F6B26B"/>
                </a:solidFill>
              </a:defRPr>
            </a:lvl9pPr>
          </a:lstStyle>
          <a:p>
            <a:endParaRPr/>
          </a:p>
        </p:txBody>
      </p:sp>
      <p:sp>
        <p:nvSpPr>
          <p:cNvPr id="153" name="Google Shape;153;p17"/>
          <p:cNvSpPr txBox="1">
            <a:spLocks noGrp="1"/>
          </p:cNvSpPr>
          <p:nvPr>
            <p:ph type="subTitle" idx="2"/>
          </p:nvPr>
        </p:nvSpPr>
        <p:spPr>
          <a:xfrm>
            <a:off x="866684" y="4943800"/>
            <a:ext cx="3058800" cy="6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154" name="Google Shape;154;p17"/>
          <p:cNvSpPr txBox="1">
            <a:spLocks noGrp="1"/>
          </p:cNvSpPr>
          <p:nvPr>
            <p:ph type="subTitle" idx="3"/>
          </p:nvPr>
        </p:nvSpPr>
        <p:spPr>
          <a:xfrm>
            <a:off x="4582333" y="4509133"/>
            <a:ext cx="3058800" cy="41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800" b="1">
                <a:solidFill>
                  <a:srgbClr val="F6B26B"/>
                </a:solidFill>
              </a:defRPr>
            </a:lvl1pPr>
            <a:lvl2pPr lvl="1" algn="ctr" rtl="0">
              <a:spcBef>
                <a:spcPts val="2133"/>
              </a:spcBef>
              <a:spcAft>
                <a:spcPts val="0"/>
              </a:spcAft>
              <a:buNone/>
              <a:defRPr sz="2800" b="1">
                <a:solidFill>
                  <a:srgbClr val="F6B26B"/>
                </a:solidFill>
              </a:defRPr>
            </a:lvl2pPr>
            <a:lvl3pPr lvl="2" algn="ctr" rtl="0">
              <a:spcBef>
                <a:spcPts val="2133"/>
              </a:spcBef>
              <a:spcAft>
                <a:spcPts val="0"/>
              </a:spcAft>
              <a:buNone/>
              <a:defRPr sz="2800" b="1">
                <a:solidFill>
                  <a:srgbClr val="F6B26B"/>
                </a:solidFill>
              </a:defRPr>
            </a:lvl3pPr>
            <a:lvl4pPr lvl="3" algn="ctr" rtl="0">
              <a:spcBef>
                <a:spcPts val="2133"/>
              </a:spcBef>
              <a:spcAft>
                <a:spcPts val="0"/>
              </a:spcAft>
              <a:buNone/>
              <a:defRPr sz="2800" b="1">
                <a:solidFill>
                  <a:srgbClr val="F6B26B"/>
                </a:solidFill>
              </a:defRPr>
            </a:lvl4pPr>
            <a:lvl5pPr lvl="4" algn="ctr" rtl="0">
              <a:spcBef>
                <a:spcPts val="2133"/>
              </a:spcBef>
              <a:spcAft>
                <a:spcPts val="0"/>
              </a:spcAft>
              <a:buNone/>
              <a:defRPr sz="2800" b="1">
                <a:solidFill>
                  <a:srgbClr val="F6B26B"/>
                </a:solidFill>
              </a:defRPr>
            </a:lvl5pPr>
            <a:lvl6pPr lvl="5" algn="ctr" rtl="0">
              <a:spcBef>
                <a:spcPts val="2133"/>
              </a:spcBef>
              <a:spcAft>
                <a:spcPts val="0"/>
              </a:spcAft>
              <a:buNone/>
              <a:defRPr sz="2800" b="1">
                <a:solidFill>
                  <a:srgbClr val="F6B26B"/>
                </a:solidFill>
              </a:defRPr>
            </a:lvl6pPr>
            <a:lvl7pPr lvl="6" algn="ctr" rtl="0">
              <a:spcBef>
                <a:spcPts val="2133"/>
              </a:spcBef>
              <a:spcAft>
                <a:spcPts val="0"/>
              </a:spcAft>
              <a:buNone/>
              <a:defRPr sz="2800" b="1">
                <a:solidFill>
                  <a:srgbClr val="F6B26B"/>
                </a:solidFill>
              </a:defRPr>
            </a:lvl7pPr>
            <a:lvl8pPr lvl="7" algn="ctr" rtl="0">
              <a:spcBef>
                <a:spcPts val="2133"/>
              </a:spcBef>
              <a:spcAft>
                <a:spcPts val="0"/>
              </a:spcAft>
              <a:buNone/>
              <a:defRPr sz="2800" b="1">
                <a:solidFill>
                  <a:srgbClr val="F6B26B"/>
                </a:solidFill>
              </a:defRPr>
            </a:lvl8pPr>
            <a:lvl9pPr lvl="8" algn="ctr" rtl="0">
              <a:spcBef>
                <a:spcPts val="2133"/>
              </a:spcBef>
              <a:spcAft>
                <a:spcPts val="2133"/>
              </a:spcAft>
              <a:buNone/>
              <a:defRPr sz="2800" b="1">
                <a:solidFill>
                  <a:srgbClr val="F6B26B"/>
                </a:solidFill>
              </a:defRPr>
            </a:lvl9pPr>
          </a:lstStyle>
          <a:p>
            <a:endParaRPr/>
          </a:p>
        </p:txBody>
      </p:sp>
      <p:sp>
        <p:nvSpPr>
          <p:cNvPr id="155" name="Google Shape;155;p17"/>
          <p:cNvSpPr txBox="1">
            <a:spLocks noGrp="1"/>
          </p:cNvSpPr>
          <p:nvPr>
            <p:ph type="subTitle" idx="4"/>
          </p:nvPr>
        </p:nvSpPr>
        <p:spPr>
          <a:xfrm>
            <a:off x="4605551" y="4943800"/>
            <a:ext cx="3058800" cy="6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156" name="Google Shape;156;p17"/>
          <p:cNvSpPr txBox="1">
            <a:spLocks noGrp="1"/>
          </p:cNvSpPr>
          <p:nvPr>
            <p:ph type="subTitle" idx="5"/>
          </p:nvPr>
        </p:nvSpPr>
        <p:spPr>
          <a:xfrm>
            <a:off x="8289617" y="4509133"/>
            <a:ext cx="3058800" cy="41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800" b="1">
                <a:solidFill>
                  <a:srgbClr val="F6B26B"/>
                </a:solidFill>
              </a:defRPr>
            </a:lvl1pPr>
            <a:lvl2pPr lvl="1" algn="ctr" rtl="0">
              <a:spcBef>
                <a:spcPts val="2133"/>
              </a:spcBef>
              <a:spcAft>
                <a:spcPts val="0"/>
              </a:spcAft>
              <a:buNone/>
              <a:defRPr sz="2800" b="1">
                <a:solidFill>
                  <a:srgbClr val="F6B26B"/>
                </a:solidFill>
              </a:defRPr>
            </a:lvl2pPr>
            <a:lvl3pPr lvl="2" algn="ctr" rtl="0">
              <a:spcBef>
                <a:spcPts val="2133"/>
              </a:spcBef>
              <a:spcAft>
                <a:spcPts val="0"/>
              </a:spcAft>
              <a:buNone/>
              <a:defRPr sz="2800" b="1">
                <a:solidFill>
                  <a:srgbClr val="F6B26B"/>
                </a:solidFill>
              </a:defRPr>
            </a:lvl3pPr>
            <a:lvl4pPr lvl="3" algn="ctr" rtl="0">
              <a:spcBef>
                <a:spcPts val="2133"/>
              </a:spcBef>
              <a:spcAft>
                <a:spcPts val="0"/>
              </a:spcAft>
              <a:buNone/>
              <a:defRPr sz="2800" b="1">
                <a:solidFill>
                  <a:srgbClr val="F6B26B"/>
                </a:solidFill>
              </a:defRPr>
            </a:lvl4pPr>
            <a:lvl5pPr lvl="4" algn="ctr" rtl="0">
              <a:spcBef>
                <a:spcPts val="2133"/>
              </a:spcBef>
              <a:spcAft>
                <a:spcPts val="0"/>
              </a:spcAft>
              <a:buNone/>
              <a:defRPr sz="2800" b="1">
                <a:solidFill>
                  <a:srgbClr val="F6B26B"/>
                </a:solidFill>
              </a:defRPr>
            </a:lvl5pPr>
            <a:lvl6pPr lvl="5" algn="ctr" rtl="0">
              <a:spcBef>
                <a:spcPts val="2133"/>
              </a:spcBef>
              <a:spcAft>
                <a:spcPts val="0"/>
              </a:spcAft>
              <a:buNone/>
              <a:defRPr sz="2800" b="1">
                <a:solidFill>
                  <a:srgbClr val="F6B26B"/>
                </a:solidFill>
              </a:defRPr>
            </a:lvl6pPr>
            <a:lvl7pPr lvl="6" algn="ctr" rtl="0">
              <a:spcBef>
                <a:spcPts val="2133"/>
              </a:spcBef>
              <a:spcAft>
                <a:spcPts val="0"/>
              </a:spcAft>
              <a:buNone/>
              <a:defRPr sz="2800" b="1">
                <a:solidFill>
                  <a:srgbClr val="F6B26B"/>
                </a:solidFill>
              </a:defRPr>
            </a:lvl7pPr>
            <a:lvl8pPr lvl="7" algn="ctr" rtl="0">
              <a:spcBef>
                <a:spcPts val="2133"/>
              </a:spcBef>
              <a:spcAft>
                <a:spcPts val="0"/>
              </a:spcAft>
              <a:buNone/>
              <a:defRPr sz="2800" b="1">
                <a:solidFill>
                  <a:srgbClr val="F6B26B"/>
                </a:solidFill>
              </a:defRPr>
            </a:lvl8pPr>
            <a:lvl9pPr lvl="8" algn="ctr" rtl="0">
              <a:spcBef>
                <a:spcPts val="2133"/>
              </a:spcBef>
              <a:spcAft>
                <a:spcPts val="2133"/>
              </a:spcAft>
              <a:buNone/>
              <a:defRPr sz="2800" b="1">
                <a:solidFill>
                  <a:srgbClr val="F6B26B"/>
                </a:solidFill>
              </a:defRPr>
            </a:lvl9pPr>
          </a:lstStyle>
          <a:p>
            <a:endParaRPr/>
          </a:p>
        </p:txBody>
      </p:sp>
      <p:sp>
        <p:nvSpPr>
          <p:cNvPr id="157" name="Google Shape;157;p17"/>
          <p:cNvSpPr txBox="1">
            <a:spLocks noGrp="1"/>
          </p:cNvSpPr>
          <p:nvPr>
            <p:ph type="subTitle" idx="6"/>
          </p:nvPr>
        </p:nvSpPr>
        <p:spPr>
          <a:xfrm>
            <a:off x="8289384" y="4943800"/>
            <a:ext cx="3058800" cy="64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704775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B74709-CA57-4F71-ABA6-FE4C061B14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5D3E7F4-D51D-42D5-B5E3-8A3C8AF4EA9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7115AEF-E614-4BF8-A207-91AC92E70F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386B5A-9CDE-4837-BB31-268E96D60C92}" type="datetimeFigureOut">
              <a:rPr lang="de-DE" smtClean="0"/>
              <a:t>28.0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1B2CFCB-1293-420E-9770-3D89CD6529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21528E0-F974-46D7-BD09-ED6384D433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81E64-D96B-45E5-8FF2-05996CFDC9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76483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7FA57E2-A1CC-45FE-B2A6-6C71C08E39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C9E5833-2DDA-4C71-8B8C-0448D84972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AAAD9A1-9B2F-4C2D-843A-E1C588E4E4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386B5A-9CDE-4837-BB31-268E96D60C92}" type="datetimeFigureOut">
              <a:rPr lang="de-DE" smtClean="0"/>
              <a:t>28.0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B996981-4798-45A6-B997-6328EEE0E1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BA2BF3A-AF9C-46E4-BE90-2336A584F2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81E64-D96B-45E5-8FF2-05996CFDC9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28715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92A022-463C-4440-9111-6D1CE1E623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8D6A853-809F-47C6-B1D5-B9F22AD5D2D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B6E2EF1-57E7-4261-B569-EE3CEB71A3A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8CF53AB-52A1-4BD4-9939-D74151340B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386B5A-9CDE-4837-BB31-268E96D60C92}" type="datetimeFigureOut">
              <a:rPr lang="de-DE" smtClean="0"/>
              <a:t>28.0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C62336B-E932-4009-8705-DD324E8272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27B565D-684D-4DC0-841E-B0AEFF8D58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81E64-D96B-45E5-8FF2-05996CFDC9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67217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A45B35E-3A61-453A-BC96-D6FF47519F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3608F84-745F-4B12-92B4-0BA92EF890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0F72369-BFF8-471C-A525-126EAB35E62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AD704D2-8022-48BB-A97C-B2B685DB857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1DC92C10-A892-4555-9079-790CBCE6FCC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3C5CC38B-038C-475F-B5DF-EAE1F66B23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386B5A-9CDE-4837-BB31-268E96D60C92}" type="datetimeFigureOut">
              <a:rPr lang="de-DE" smtClean="0"/>
              <a:t>28.02.2021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307DD7D-E66E-40DE-AE04-7DF725F73D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A27D410-9E78-4FA7-B92E-D8A80F8ED5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81E64-D96B-45E5-8FF2-05996CFDC9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037518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877EB1-F905-4FB7-812F-CE618CE5AD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19EE330-AD4F-4B43-A5D6-81C2C8F694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386B5A-9CDE-4837-BB31-268E96D60C92}" type="datetimeFigureOut">
              <a:rPr lang="de-DE" smtClean="0"/>
              <a:t>28.02.2021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5DC9427-8381-4985-8C3F-674A822B6D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E6FA1EA-52F0-4C67-B8E4-37452AC3CA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81E64-D96B-45E5-8FF2-05996CFDC9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63569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B7F3B0D-C6E3-479C-B2FE-0B13564AA1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386B5A-9CDE-4837-BB31-268E96D60C92}" type="datetimeFigureOut">
              <a:rPr lang="de-DE" smtClean="0"/>
              <a:t>28.02.2021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E72256A-BB66-41BC-9DF2-21EBAF4CC7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2692BE8-1D61-433E-B56C-285BE646C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81E64-D96B-45E5-8FF2-05996CFDC9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826578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25B2064-7936-4962-84E9-3F707EE64D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B39965C-0E05-4E49-B45F-32710FA215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CE0DFDF-D9E5-4AD0-AE2E-0C5744EDAAC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A98B107-266B-44B5-A478-A559CA1B36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386B5A-9CDE-4837-BB31-268E96D60C92}" type="datetimeFigureOut">
              <a:rPr lang="de-DE" smtClean="0"/>
              <a:t>28.0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4CFB362-2D77-4BB1-944D-11A42AD185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A2A809D-A995-4EBB-95AC-F628991CCB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81E64-D96B-45E5-8FF2-05996CFDC9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644289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539FBF2-72D3-416F-B22E-18D21E104B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44DCC5D3-F59D-4EAD-9478-9DA6717C63E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45B4EF2-6BDB-42B0-BD41-86B913022CC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83F7C20-EC7B-4C37-A663-2CD1B86D60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386B5A-9CDE-4837-BB31-268E96D60C92}" type="datetimeFigureOut">
              <a:rPr lang="de-DE" smtClean="0"/>
              <a:t>28.0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A99071E-81BC-44A8-AE34-28BFA56637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64E7890-A783-4780-B31B-41354C1E74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81E64-D96B-45E5-8FF2-05996CFDC9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232368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7187211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think-cell Slide" r:id="rId17" imgW="233" imgH="233" progId="TCLayout.ActiveDocument.1">
                  <p:embed/>
                </p:oleObj>
              </mc:Choice>
              <mc:Fallback>
                <p:oleObj name="think-cell Slide" r:id="rId17" imgW="233" imgH="2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91269C2-61CD-48F0-BBA1-D5992648D3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6B02932-1720-431C-BB81-8ECE75892CA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9852502-1AAA-4D7D-BD2A-F0B099D6E2A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386B5A-9CDE-4837-BB31-268E96D60C92}" type="datetimeFigureOut">
              <a:rPr lang="de-DE" smtClean="0"/>
              <a:t>28.0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D3976F4-00EA-4296-8F63-627760CDB9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9CB852D-9790-4EE6-84FB-6E8F6B7009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D81E64-D96B-45E5-8FF2-05996CFDC975}" type="slidenum">
              <a:rPr lang="de-DE" smtClean="0"/>
              <a:t>‹#›</a:t>
            </a:fld>
            <a:endParaRPr lang="de-DE"/>
          </a:p>
        </p:txBody>
      </p:sp>
      <p:sp>
        <p:nvSpPr>
          <p:cNvPr id="7" name="Google Shape;134;p15"/>
          <p:cNvSpPr/>
          <p:nvPr userDrawn="1"/>
        </p:nvSpPr>
        <p:spPr>
          <a:xfrm rot="4369112" flipH="1">
            <a:off x="10940673" y="-197068"/>
            <a:ext cx="2153035" cy="1370584"/>
          </a:xfrm>
          <a:custGeom>
            <a:avLst/>
            <a:gdLst/>
            <a:ahLst/>
            <a:cxnLst/>
            <a:rect l="l" t="t" r="r" b="b"/>
            <a:pathLst>
              <a:path w="156780" h="99750" extrusionOk="0">
                <a:moveTo>
                  <a:pt x="78442" y="1"/>
                </a:moveTo>
                <a:cubicBezTo>
                  <a:pt x="38913" y="1"/>
                  <a:pt x="0" y="20209"/>
                  <a:pt x="10798" y="53477"/>
                </a:cubicBezTo>
                <a:cubicBezTo>
                  <a:pt x="16027" y="69606"/>
                  <a:pt x="25323" y="73597"/>
                  <a:pt x="36170" y="73597"/>
                </a:cubicBezTo>
                <a:cubicBezTo>
                  <a:pt x="46794" y="73597"/>
                  <a:pt x="58906" y="69768"/>
                  <a:pt x="70140" y="69768"/>
                </a:cubicBezTo>
                <a:cubicBezTo>
                  <a:pt x="75093" y="69768"/>
                  <a:pt x="79875" y="70512"/>
                  <a:pt x="84284" y="72657"/>
                </a:cubicBezTo>
                <a:cubicBezTo>
                  <a:pt x="98093" y="79362"/>
                  <a:pt x="96492" y="99276"/>
                  <a:pt x="116673" y="99743"/>
                </a:cubicBezTo>
                <a:cubicBezTo>
                  <a:pt x="116864" y="99747"/>
                  <a:pt x="117055" y="99749"/>
                  <a:pt x="117244" y="99749"/>
                </a:cubicBezTo>
                <a:cubicBezTo>
                  <a:pt x="135157" y="99749"/>
                  <a:pt x="147886" y="81163"/>
                  <a:pt x="150164" y="65418"/>
                </a:cubicBezTo>
                <a:cubicBezTo>
                  <a:pt x="156779" y="19541"/>
                  <a:pt x="117312" y="1"/>
                  <a:pt x="78442" y="1"/>
                </a:cubicBezTo>
                <a:close/>
              </a:path>
            </a:pathLst>
          </a:custGeom>
          <a:solidFill>
            <a:srgbClr val="4DA2C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" name="Google Shape;135;p15"/>
          <p:cNvSpPr/>
          <p:nvPr userDrawn="1"/>
        </p:nvSpPr>
        <p:spPr>
          <a:xfrm rot="4370985">
            <a:off x="11059647" y="470483"/>
            <a:ext cx="496476" cy="496476"/>
          </a:xfrm>
          <a:prstGeom prst="ellipse">
            <a:avLst/>
          </a:prstGeom>
          <a:solidFill>
            <a:srgbClr val="D7F1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" name="Google Shape;136;p15"/>
          <p:cNvSpPr/>
          <p:nvPr userDrawn="1"/>
        </p:nvSpPr>
        <p:spPr>
          <a:xfrm rot="2716857" flipH="1">
            <a:off x="10865810" y="-299726"/>
            <a:ext cx="2260836" cy="1439143"/>
          </a:xfrm>
          <a:custGeom>
            <a:avLst/>
            <a:gdLst/>
            <a:ahLst/>
            <a:cxnLst/>
            <a:rect l="l" t="t" r="r" b="b"/>
            <a:pathLst>
              <a:path w="156780" h="99750" extrusionOk="0">
                <a:moveTo>
                  <a:pt x="78442" y="1"/>
                </a:moveTo>
                <a:cubicBezTo>
                  <a:pt x="38913" y="1"/>
                  <a:pt x="0" y="20209"/>
                  <a:pt x="10798" y="53477"/>
                </a:cubicBezTo>
                <a:cubicBezTo>
                  <a:pt x="16027" y="69606"/>
                  <a:pt x="25323" y="73597"/>
                  <a:pt x="36170" y="73597"/>
                </a:cubicBezTo>
                <a:cubicBezTo>
                  <a:pt x="46794" y="73597"/>
                  <a:pt x="58906" y="69768"/>
                  <a:pt x="70140" y="69768"/>
                </a:cubicBezTo>
                <a:cubicBezTo>
                  <a:pt x="75093" y="69768"/>
                  <a:pt x="79875" y="70512"/>
                  <a:pt x="84284" y="72657"/>
                </a:cubicBezTo>
                <a:cubicBezTo>
                  <a:pt x="98093" y="79362"/>
                  <a:pt x="96492" y="99276"/>
                  <a:pt x="116673" y="99743"/>
                </a:cubicBezTo>
                <a:cubicBezTo>
                  <a:pt x="116864" y="99747"/>
                  <a:pt x="117055" y="99749"/>
                  <a:pt x="117244" y="99749"/>
                </a:cubicBezTo>
                <a:cubicBezTo>
                  <a:pt x="135157" y="99749"/>
                  <a:pt x="147886" y="81163"/>
                  <a:pt x="150164" y="65418"/>
                </a:cubicBezTo>
                <a:cubicBezTo>
                  <a:pt x="156779" y="19541"/>
                  <a:pt x="117312" y="1"/>
                  <a:pt x="78442" y="1"/>
                </a:cubicBezTo>
                <a:close/>
              </a:path>
            </a:pathLst>
          </a:custGeom>
          <a:noFill/>
          <a:ln w="19050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" name="Google Shape;137;p15"/>
          <p:cNvSpPr/>
          <p:nvPr userDrawn="1"/>
        </p:nvSpPr>
        <p:spPr>
          <a:xfrm rot="2700000" flipH="1">
            <a:off x="-846986" y="5676604"/>
            <a:ext cx="2945305" cy="1537809"/>
          </a:xfrm>
          <a:custGeom>
            <a:avLst/>
            <a:gdLst/>
            <a:ahLst/>
            <a:cxnLst/>
            <a:rect l="l" t="t" r="r" b="b"/>
            <a:pathLst>
              <a:path w="263626" h="137645" extrusionOk="0">
                <a:moveTo>
                  <a:pt x="75120" y="1"/>
                </a:moveTo>
                <a:cubicBezTo>
                  <a:pt x="68706" y="1"/>
                  <a:pt x="61958" y="879"/>
                  <a:pt x="54916" y="2857"/>
                </a:cubicBezTo>
                <a:cubicBezTo>
                  <a:pt x="12926" y="14572"/>
                  <a:pt x="1" y="57071"/>
                  <a:pt x="4171" y="85436"/>
                </a:cubicBezTo>
                <a:cubicBezTo>
                  <a:pt x="7164" y="105810"/>
                  <a:pt x="18083" y="123096"/>
                  <a:pt x="32950" y="136340"/>
                </a:cubicBezTo>
                <a:cubicBezTo>
                  <a:pt x="33427" y="136785"/>
                  <a:pt x="33937" y="137199"/>
                  <a:pt x="34446" y="137645"/>
                </a:cubicBezTo>
                <a:lnTo>
                  <a:pt x="222558" y="136976"/>
                </a:lnTo>
                <a:cubicBezTo>
                  <a:pt x="222558" y="136976"/>
                  <a:pt x="263625" y="118735"/>
                  <a:pt x="262670" y="81902"/>
                </a:cubicBezTo>
                <a:cubicBezTo>
                  <a:pt x="261989" y="56448"/>
                  <a:pt x="243231" y="40404"/>
                  <a:pt x="222985" y="40404"/>
                </a:cubicBezTo>
                <a:cubicBezTo>
                  <a:pt x="213910" y="40404"/>
                  <a:pt x="204537" y="43627"/>
                  <a:pt x="196358" y="50672"/>
                </a:cubicBezTo>
                <a:cubicBezTo>
                  <a:pt x="187785" y="58047"/>
                  <a:pt x="180194" y="61025"/>
                  <a:pt x="173382" y="61025"/>
                </a:cubicBezTo>
                <a:cubicBezTo>
                  <a:pt x="159200" y="61025"/>
                  <a:pt x="148399" y="48116"/>
                  <a:pt x="139151" y="35105"/>
                </a:cubicBezTo>
                <a:cubicBezTo>
                  <a:pt x="127871" y="19261"/>
                  <a:pt x="105156" y="1"/>
                  <a:pt x="75120" y="1"/>
                </a:cubicBezTo>
                <a:close/>
              </a:path>
            </a:pathLst>
          </a:custGeom>
          <a:solidFill>
            <a:srgbClr val="FB844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" name="Google Shape;138;p15"/>
          <p:cNvSpPr/>
          <p:nvPr userDrawn="1"/>
        </p:nvSpPr>
        <p:spPr>
          <a:xfrm rot="486435">
            <a:off x="392264" y="5686684"/>
            <a:ext cx="850904" cy="850904"/>
          </a:xfrm>
          <a:prstGeom prst="ellipse">
            <a:avLst/>
          </a:prstGeom>
          <a:noFill/>
          <a:ln w="19050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20159171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5" r:id="rId13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13" Type="http://schemas.openxmlformats.org/officeDocument/2006/relationships/image" Target="../media/image6.png"/><Relationship Id="rId3" Type="http://schemas.openxmlformats.org/officeDocument/2006/relationships/audio" Target="../media/media1.m4a"/><Relationship Id="rId7" Type="http://schemas.openxmlformats.org/officeDocument/2006/relationships/image" Target="../media/image2.png"/><Relationship Id="rId12" Type="http://schemas.openxmlformats.org/officeDocument/2006/relationships/image" Target="../media/image5.png"/><Relationship Id="rId2" Type="http://schemas.microsoft.com/office/2007/relationships/media" Target="../media/media1.m4a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1.xml"/><Relationship Id="rId11" Type="http://schemas.openxmlformats.org/officeDocument/2006/relationships/image" Target="../media/image4.jpg"/><Relationship Id="rId5" Type="http://schemas.openxmlformats.org/officeDocument/2006/relationships/slideLayout" Target="../slideLayouts/slideLayout12.xml"/><Relationship Id="rId15" Type="http://schemas.openxmlformats.org/officeDocument/2006/relationships/image" Target="../media/image8.jpeg"/><Relationship Id="rId10" Type="http://schemas.openxmlformats.org/officeDocument/2006/relationships/image" Target="../media/image3.jpeg"/><Relationship Id="rId4" Type="http://schemas.openxmlformats.org/officeDocument/2006/relationships/tags" Target="../tags/tag3.xml"/><Relationship Id="rId9" Type="http://schemas.openxmlformats.org/officeDocument/2006/relationships/image" Target="../media/image1.emf"/><Relationship Id="rId1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microsoft.com/office/2007/relationships/hdphoto" Target="../media/hdphoto1.wdp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3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8.png"/><Relationship Id="rId5" Type="http://schemas.openxmlformats.org/officeDocument/2006/relationships/image" Target="../media/image17.jpg"/><Relationship Id="rId4" Type="http://schemas.openxmlformats.org/officeDocument/2006/relationships/image" Target="../media/image16.jp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tmp"/><Relationship Id="rId13" Type="http://schemas.openxmlformats.org/officeDocument/2006/relationships/image" Target="../media/image21.sv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0.tmp"/><Relationship Id="rId12" Type="http://schemas.openxmlformats.org/officeDocument/2006/relationships/image" Target="../media/image25.png"/><Relationship Id="rId2" Type="http://schemas.openxmlformats.org/officeDocument/2006/relationships/tags" Target="../tags/tag6.xml"/><Relationship Id="rId16" Type="http://schemas.microsoft.com/office/2007/relationships/hdphoto" Target="../media/hdphoto1.wdp"/><Relationship Id="rId1" Type="http://schemas.openxmlformats.org/officeDocument/2006/relationships/vmlDrawing" Target="../drawings/vmlDrawing5.vml"/><Relationship Id="rId6" Type="http://schemas.openxmlformats.org/officeDocument/2006/relationships/image" Target="../media/image19.tmp"/><Relationship Id="rId11" Type="http://schemas.openxmlformats.org/officeDocument/2006/relationships/image" Target="../media/image24.tmp"/><Relationship Id="rId5" Type="http://schemas.openxmlformats.org/officeDocument/2006/relationships/image" Target="../media/image1.emf"/><Relationship Id="rId15" Type="http://schemas.openxmlformats.org/officeDocument/2006/relationships/image" Target="../media/image9.png"/><Relationship Id="rId10" Type="http://schemas.openxmlformats.org/officeDocument/2006/relationships/image" Target="../media/image23.tmp"/><Relationship Id="rId4" Type="http://schemas.openxmlformats.org/officeDocument/2006/relationships/oleObject" Target="../embeddings/oleObject5.bin"/><Relationship Id="rId9" Type="http://schemas.openxmlformats.org/officeDocument/2006/relationships/image" Target="../media/image22.tmp"/><Relationship Id="rId14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rash-Audio.m4a" descr="Crash-Audio.m4a">
            <a:hlinkClick r:id="" action="ppaction://media"/>
            <a:extLst>
              <a:ext uri="{FF2B5EF4-FFF2-40B4-BE49-F238E27FC236}">
                <a16:creationId xmlns:a16="http://schemas.microsoft.com/office/drawing/2014/main" id="{264A2C04-8049-CF4B-B677-52F7B4CC4BA0}"/>
              </a:ext>
            </a:extLst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>
                  <p14:fade in="500"/>
                </p14:media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9783755" y="5188371"/>
            <a:ext cx="812800" cy="81280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5" name="think-cell Slide" r:id="rId8" imgW="233" imgH="233" progId="TCLayout.ActiveDocument.1">
                  <p:embed/>
                </p:oleObj>
              </mc:Choice>
              <mc:Fallback>
                <p:oleObj name="think-cell Slide" r:id="rId8" imgW="233" imgH="23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8" descr="Fahrradunfall in Pankow: Radfahrerin prallt gegen Autotür - Berlin -  Tagesspiegel">
            <a:extLst>
              <a:ext uri="{FF2B5EF4-FFF2-40B4-BE49-F238E27FC236}">
                <a16:creationId xmlns:a16="http://schemas.microsoft.com/office/drawing/2014/main" id="{00649315-2DD6-4F22-A357-2CBDE776F62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00" b="2936"/>
          <a:stretch/>
        </p:blipFill>
        <p:spPr bwMode="auto">
          <a:xfrm>
            <a:off x="1186229" y="871563"/>
            <a:ext cx="4582032" cy="29428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">
            <a:extLst>
              <a:ext uri="{FF2B5EF4-FFF2-40B4-BE49-F238E27FC236}">
                <a16:creationId xmlns:a16="http://schemas.microsoft.com/office/drawing/2014/main" id="{02CDA912-4BDC-4C40-A0AC-55F280CACB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439396" y="909057"/>
            <a:ext cx="4582032" cy="2905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0" name="Picture 2" descr="Datei:Frankfurter Allgemeine logo.svg – Wikipedia"/>
          <p:cNvPicPr>
            <a:picLocks noChangeAspect="1" noChangeArrowheads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4868" y="5986117"/>
            <a:ext cx="2205544" cy="4653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17">
            <a:extLst>
              <a:ext uri="{FF2B5EF4-FFF2-40B4-BE49-F238E27FC236}">
                <a16:creationId xmlns:a16="http://schemas.microsoft.com/office/drawing/2014/main" id="{AF8F9442-6FB5-4EE1-9AA2-9B41390DB552}"/>
              </a:ext>
            </a:extLst>
          </p:cNvPr>
          <p:cNvSpPr>
            <a:spLocks/>
          </p:cNvSpPr>
          <p:nvPr/>
        </p:nvSpPr>
        <p:spPr bwMode="gray">
          <a:xfrm>
            <a:off x="3072006" y="3994431"/>
            <a:ext cx="6047988" cy="1757394"/>
          </a:xfrm>
          <a:custGeom>
            <a:avLst/>
            <a:gdLst>
              <a:gd name="T0" fmla="*/ 86 w 1153"/>
              <a:gd name="T1" fmla="*/ 311 h 323"/>
              <a:gd name="T2" fmla="*/ 75 w 1153"/>
              <a:gd name="T3" fmla="*/ 311 h 323"/>
              <a:gd name="T4" fmla="*/ 63 w 1153"/>
              <a:gd name="T5" fmla="*/ 311 h 323"/>
              <a:gd name="T6" fmla="*/ 55 w 1153"/>
              <a:gd name="T7" fmla="*/ 310 h 323"/>
              <a:gd name="T8" fmla="*/ 57 w 1153"/>
              <a:gd name="T9" fmla="*/ 228 h 323"/>
              <a:gd name="T10" fmla="*/ 43 w 1153"/>
              <a:gd name="T11" fmla="*/ 193 h 323"/>
              <a:gd name="T12" fmla="*/ 28 w 1153"/>
              <a:gd name="T13" fmla="*/ 162 h 323"/>
              <a:gd name="T14" fmla="*/ 21 w 1153"/>
              <a:gd name="T15" fmla="*/ 71 h 323"/>
              <a:gd name="T16" fmla="*/ 14 w 1153"/>
              <a:gd name="T17" fmla="*/ 37 h 323"/>
              <a:gd name="T18" fmla="*/ 45 w 1153"/>
              <a:gd name="T19" fmla="*/ 26 h 323"/>
              <a:gd name="T20" fmla="*/ 66 w 1153"/>
              <a:gd name="T21" fmla="*/ 36 h 323"/>
              <a:gd name="T22" fmla="*/ 110 w 1153"/>
              <a:gd name="T23" fmla="*/ 24 h 323"/>
              <a:gd name="T24" fmla="*/ 171 w 1153"/>
              <a:gd name="T25" fmla="*/ 25 h 323"/>
              <a:gd name="T26" fmla="*/ 195 w 1153"/>
              <a:gd name="T27" fmla="*/ 18 h 323"/>
              <a:gd name="T28" fmla="*/ 220 w 1153"/>
              <a:gd name="T29" fmla="*/ 22 h 323"/>
              <a:gd name="T30" fmla="*/ 273 w 1153"/>
              <a:gd name="T31" fmla="*/ 18 h 323"/>
              <a:gd name="T32" fmla="*/ 344 w 1153"/>
              <a:gd name="T33" fmla="*/ 21 h 323"/>
              <a:gd name="T34" fmla="*/ 379 w 1153"/>
              <a:gd name="T35" fmla="*/ 16 h 323"/>
              <a:gd name="T36" fmla="*/ 435 w 1153"/>
              <a:gd name="T37" fmla="*/ 27 h 323"/>
              <a:gd name="T38" fmla="*/ 510 w 1153"/>
              <a:gd name="T39" fmla="*/ 17 h 323"/>
              <a:gd name="T40" fmla="*/ 581 w 1153"/>
              <a:gd name="T41" fmla="*/ 19 h 323"/>
              <a:gd name="T42" fmla="*/ 606 w 1153"/>
              <a:gd name="T43" fmla="*/ 8 h 323"/>
              <a:gd name="T44" fmla="*/ 663 w 1153"/>
              <a:gd name="T45" fmla="*/ 11 h 323"/>
              <a:gd name="T46" fmla="*/ 700 w 1153"/>
              <a:gd name="T47" fmla="*/ 14 h 323"/>
              <a:gd name="T48" fmla="*/ 721 w 1153"/>
              <a:gd name="T49" fmla="*/ 9 h 323"/>
              <a:gd name="T50" fmla="*/ 871 w 1153"/>
              <a:gd name="T51" fmla="*/ 7 h 323"/>
              <a:gd name="T52" fmla="*/ 973 w 1153"/>
              <a:gd name="T53" fmla="*/ 7 h 323"/>
              <a:gd name="T54" fmla="*/ 967 w 1153"/>
              <a:gd name="T55" fmla="*/ 3 h 323"/>
              <a:gd name="T56" fmla="*/ 1057 w 1153"/>
              <a:gd name="T57" fmla="*/ 0 h 323"/>
              <a:gd name="T58" fmla="*/ 1144 w 1153"/>
              <a:gd name="T59" fmla="*/ 3 h 323"/>
              <a:gd name="T60" fmla="*/ 1123 w 1153"/>
              <a:gd name="T61" fmla="*/ 68 h 323"/>
              <a:gd name="T62" fmla="*/ 1134 w 1153"/>
              <a:gd name="T63" fmla="*/ 86 h 323"/>
              <a:gd name="T64" fmla="*/ 1124 w 1153"/>
              <a:gd name="T65" fmla="*/ 183 h 323"/>
              <a:gd name="T66" fmla="*/ 1099 w 1153"/>
              <a:gd name="T67" fmla="*/ 212 h 323"/>
              <a:gd name="T68" fmla="*/ 1131 w 1153"/>
              <a:gd name="T69" fmla="*/ 230 h 323"/>
              <a:gd name="T70" fmla="*/ 1141 w 1153"/>
              <a:gd name="T71" fmla="*/ 301 h 323"/>
              <a:gd name="T72" fmla="*/ 1120 w 1153"/>
              <a:gd name="T73" fmla="*/ 295 h 323"/>
              <a:gd name="T74" fmla="*/ 979 w 1153"/>
              <a:gd name="T75" fmla="*/ 301 h 323"/>
              <a:gd name="T76" fmla="*/ 918 w 1153"/>
              <a:gd name="T77" fmla="*/ 315 h 323"/>
              <a:gd name="T78" fmla="*/ 910 w 1153"/>
              <a:gd name="T79" fmla="*/ 305 h 323"/>
              <a:gd name="T80" fmla="*/ 879 w 1153"/>
              <a:gd name="T81" fmla="*/ 310 h 323"/>
              <a:gd name="T82" fmla="*/ 852 w 1153"/>
              <a:gd name="T83" fmla="*/ 310 h 323"/>
              <a:gd name="T84" fmla="*/ 829 w 1153"/>
              <a:gd name="T85" fmla="*/ 319 h 323"/>
              <a:gd name="T86" fmla="*/ 816 w 1153"/>
              <a:gd name="T87" fmla="*/ 311 h 323"/>
              <a:gd name="T88" fmla="*/ 806 w 1153"/>
              <a:gd name="T89" fmla="*/ 316 h 323"/>
              <a:gd name="T90" fmla="*/ 795 w 1153"/>
              <a:gd name="T91" fmla="*/ 310 h 323"/>
              <a:gd name="T92" fmla="*/ 720 w 1153"/>
              <a:gd name="T93" fmla="*/ 307 h 323"/>
              <a:gd name="T94" fmla="*/ 714 w 1153"/>
              <a:gd name="T95" fmla="*/ 312 h 323"/>
              <a:gd name="T96" fmla="*/ 685 w 1153"/>
              <a:gd name="T97" fmla="*/ 306 h 323"/>
              <a:gd name="T98" fmla="*/ 651 w 1153"/>
              <a:gd name="T99" fmla="*/ 297 h 323"/>
              <a:gd name="T100" fmla="*/ 499 w 1153"/>
              <a:gd name="T101" fmla="*/ 305 h 323"/>
              <a:gd name="T102" fmla="*/ 494 w 1153"/>
              <a:gd name="T103" fmla="*/ 299 h 323"/>
              <a:gd name="T104" fmla="*/ 486 w 1153"/>
              <a:gd name="T105" fmla="*/ 305 h 323"/>
              <a:gd name="T106" fmla="*/ 424 w 1153"/>
              <a:gd name="T107" fmla="*/ 300 h 323"/>
              <a:gd name="T108" fmla="*/ 371 w 1153"/>
              <a:gd name="T109" fmla="*/ 298 h 323"/>
              <a:gd name="T110" fmla="*/ 343 w 1153"/>
              <a:gd name="T111" fmla="*/ 311 h 323"/>
              <a:gd name="T112" fmla="*/ 319 w 1153"/>
              <a:gd name="T113" fmla="*/ 297 h 323"/>
              <a:gd name="T114" fmla="*/ 242 w 1153"/>
              <a:gd name="T115" fmla="*/ 303 h 323"/>
              <a:gd name="T116" fmla="*/ 86 w 1153"/>
              <a:gd name="T117" fmla="*/ 311 h 323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153"/>
              <a:gd name="T178" fmla="*/ 0 h 323"/>
              <a:gd name="T179" fmla="*/ 1153 w 1153"/>
              <a:gd name="T180" fmla="*/ 323 h 323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153" h="323">
                <a:moveTo>
                  <a:pt x="86" y="311"/>
                </a:moveTo>
                <a:cubicBezTo>
                  <a:pt x="82" y="311"/>
                  <a:pt x="78" y="311"/>
                  <a:pt x="75" y="311"/>
                </a:cubicBezTo>
                <a:cubicBezTo>
                  <a:pt x="77" y="304"/>
                  <a:pt x="55" y="306"/>
                  <a:pt x="63" y="311"/>
                </a:cubicBezTo>
                <a:cubicBezTo>
                  <a:pt x="61" y="310"/>
                  <a:pt x="58" y="310"/>
                  <a:pt x="55" y="310"/>
                </a:cubicBezTo>
                <a:cubicBezTo>
                  <a:pt x="49" y="282"/>
                  <a:pt x="62" y="249"/>
                  <a:pt x="57" y="228"/>
                </a:cubicBezTo>
                <a:cubicBezTo>
                  <a:pt x="51" y="226"/>
                  <a:pt x="44" y="200"/>
                  <a:pt x="43" y="193"/>
                </a:cubicBezTo>
                <a:cubicBezTo>
                  <a:pt x="37" y="194"/>
                  <a:pt x="30" y="174"/>
                  <a:pt x="28" y="162"/>
                </a:cubicBezTo>
                <a:cubicBezTo>
                  <a:pt x="0" y="150"/>
                  <a:pt x="21" y="99"/>
                  <a:pt x="21" y="71"/>
                </a:cubicBezTo>
                <a:cubicBezTo>
                  <a:pt x="20" y="60"/>
                  <a:pt x="10" y="47"/>
                  <a:pt x="14" y="37"/>
                </a:cubicBezTo>
                <a:cubicBezTo>
                  <a:pt x="17" y="28"/>
                  <a:pt x="32" y="24"/>
                  <a:pt x="45" y="26"/>
                </a:cubicBezTo>
                <a:cubicBezTo>
                  <a:pt x="54" y="27"/>
                  <a:pt x="59" y="36"/>
                  <a:pt x="66" y="36"/>
                </a:cubicBezTo>
                <a:cubicBezTo>
                  <a:pt x="77" y="37"/>
                  <a:pt x="91" y="25"/>
                  <a:pt x="110" y="24"/>
                </a:cubicBezTo>
                <a:cubicBezTo>
                  <a:pt x="131" y="23"/>
                  <a:pt x="155" y="27"/>
                  <a:pt x="171" y="25"/>
                </a:cubicBezTo>
                <a:cubicBezTo>
                  <a:pt x="179" y="24"/>
                  <a:pt x="187" y="18"/>
                  <a:pt x="195" y="18"/>
                </a:cubicBezTo>
                <a:cubicBezTo>
                  <a:pt x="203" y="17"/>
                  <a:pt x="211" y="22"/>
                  <a:pt x="220" y="22"/>
                </a:cubicBezTo>
                <a:cubicBezTo>
                  <a:pt x="236" y="24"/>
                  <a:pt x="255" y="19"/>
                  <a:pt x="273" y="18"/>
                </a:cubicBezTo>
                <a:cubicBezTo>
                  <a:pt x="298" y="16"/>
                  <a:pt x="327" y="21"/>
                  <a:pt x="344" y="21"/>
                </a:cubicBezTo>
                <a:cubicBezTo>
                  <a:pt x="355" y="22"/>
                  <a:pt x="367" y="16"/>
                  <a:pt x="379" y="16"/>
                </a:cubicBezTo>
                <a:cubicBezTo>
                  <a:pt x="397" y="17"/>
                  <a:pt x="417" y="25"/>
                  <a:pt x="435" y="27"/>
                </a:cubicBezTo>
                <a:cubicBezTo>
                  <a:pt x="467" y="31"/>
                  <a:pt x="487" y="21"/>
                  <a:pt x="510" y="17"/>
                </a:cubicBezTo>
                <a:cubicBezTo>
                  <a:pt x="535" y="14"/>
                  <a:pt x="559" y="25"/>
                  <a:pt x="581" y="19"/>
                </a:cubicBezTo>
                <a:cubicBezTo>
                  <a:pt x="586" y="13"/>
                  <a:pt x="598" y="13"/>
                  <a:pt x="606" y="8"/>
                </a:cubicBezTo>
                <a:cubicBezTo>
                  <a:pt x="623" y="25"/>
                  <a:pt x="643" y="13"/>
                  <a:pt x="663" y="11"/>
                </a:cubicBezTo>
                <a:cubicBezTo>
                  <a:pt x="675" y="10"/>
                  <a:pt x="687" y="15"/>
                  <a:pt x="700" y="14"/>
                </a:cubicBezTo>
                <a:cubicBezTo>
                  <a:pt x="707" y="14"/>
                  <a:pt x="713" y="10"/>
                  <a:pt x="721" y="9"/>
                </a:cubicBezTo>
                <a:cubicBezTo>
                  <a:pt x="776" y="1"/>
                  <a:pt x="831" y="5"/>
                  <a:pt x="871" y="7"/>
                </a:cubicBezTo>
                <a:cubicBezTo>
                  <a:pt x="909" y="8"/>
                  <a:pt x="939" y="6"/>
                  <a:pt x="973" y="7"/>
                </a:cubicBezTo>
                <a:cubicBezTo>
                  <a:pt x="970" y="7"/>
                  <a:pt x="966" y="7"/>
                  <a:pt x="967" y="3"/>
                </a:cubicBezTo>
                <a:cubicBezTo>
                  <a:pt x="1000" y="13"/>
                  <a:pt x="1025" y="7"/>
                  <a:pt x="1057" y="0"/>
                </a:cubicBezTo>
                <a:cubicBezTo>
                  <a:pt x="1086" y="10"/>
                  <a:pt x="1125" y="1"/>
                  <a:pt x="1144" y="3"/>
                </a:cubicBezTo>
                <a:cubicBezTo>
                  <a:pt x="1134" y="22"/>
                  <a:pt x="1135" y="52"/>
                  <a:pt x="1123" y="68"/>
                </a:cubicBezTo>
                <a:cubicBezTo>
                  <a:pt x="1137" y="68"/>
                  <a:pt x="1123" y="89"/>
                  <a:pt x="1134" y="86"/>
                </a:cubicBezTo>
                <a:cubicBezTo>
                  <a:pt x="1130" y="107"/>
                  <a:pt x="1130" y="153"/>
                  <a:pt x="1124" y="183"/>
                </a:cubicBezTo>
                <a:cubicBezTo>
                  <a:pt x="1115" y="192"/>
                  <a:pt x="1109" y="204"/>
                  <a:pt x="1099" y="212"/>
                </a:cubicBezTo>
                <a:cubicBezTo>
                  <a:pt x="1102" y="225"/>
                  <a:pt x="1117" y="226"/>
                  <a:pt x="1131" y="230"/>
                </a:cubicBezTo>
                <a:cubicBezTo>
                  <a:pt x="1139" y="248"/>
                  <a:pt x="1153" y="275"/>
                  <a:pt x="1141" y="301"/>
                </a:cubicBezTo>
                <a:cubicBezTo>
                  <a:pt x="1130" y="298"/>
                  <a:pt x="1129" y="298"/>
                  <a:pt x="1120" y="295"/>
                </a:cubicBezTo>
                <a:cubicBezTo>
                  <a:pt x="1077" y="312"/>
                  <a:pt x="1043" y="304"/>
                  <a:pt x="979" y="301"/>
                </a:cubicBezTo>
                <a:cubicBezTo>
                  <a:pt x="963" y="323"/>
                  <a:pt x="940" y="308"/>
                  <a:pt x="918" y="315"/>
                </a:cubicBezTo>
                <a:cubicBezTo>
                  <a:pt x="911" y="313"/>
                  <a:pt x="920" y="306"/>
                  <a:pt x="910" y="305"/>
                </a:cubicBezTo>
                <a:cubicBezTo>
                  <a:pt x="909" y="321"/>
                  <a:pt x="884" y="310"/>
                  <a:pt x="879" y="310"/>
                </a:cubicBezTo>
                <a:cubicBezTo>
                  <a:pt x="872" y="310"/>
                  <a:pt x="861" y="319"/>
                  <a:pt x="852" y="310"/>
                </a:cubicBezTo>
                <a:cubicBezTo>
                  <a:pt x="851" y="319"/>
                  <a:pt x="840" y="321"/>
                  <a:pt x="829" y="319"/>
                </a:cubicBezTo>
                <a:cubicBezTo>
                  <a:pt x="824" y="318"/>
                  <a:pt x="815" y="311"/>
                  <a:pt x="816" y="311"/>
                </a:cubicBezTo>
                <a:cubicBezTo>
                  <a:pt x="814" y="310"/>
                  <a:pt x="807" y="316"/>
                  <a:pt x="806" y="316"/>
                </a:cubicBezTo>
                <a:cubicBezTo>
                  <a:pt x="804" y="316"/>
                  <a:pt x="797" y="311"/>
                  <a:pt x="795" y="310"/>
                </a:cubicBezTo>
                <a:cubicBezTo>
                  <a:pt x="774" y="307"/>
                  <a:pt x="742" y="319"/>
                  <a:pt x="720" y="307"/>
                </a:cubicBezTo>
                <a:cubicBezTo>
                  <a:pt x="716" y="307"/>
                  <a:pt x="724" y="315"/>
                  <a:pt x="714" y="312"/>
                </a:cubicBezTo>
                <a:cubicBezTo>
                  <a:pt x="699" y="312"/>
                  <a:pt x="705" y="303"/>
                  <a:pt x="685" y="306"/>
                </a:cubicBezTo>
                <a:cubicBezTo>
                  <a:pt x="679" y="283"/>
                  <a:pt x="666" y="294"/>
                  <a:pt x="651" y="297"/>
                </a:cubicBezTo>
                <a:cubicBezTo>
                  <a:pt x="598" y="310"/>
                  <a:pt x="546" y="294"/>
                  <a:pt x="499" y="305"/>
                </a:cubicBezTo>
                <a:cubicBezTo>
                  <a:pt x="504" y="299"/>
                  <a:pt x="495" y="306"/>
                  <a:pt x="494" y="299"/>
                </a:cubicBezTo>
                <a:cubicBezTo>
                  <a:pt x="486" y="296"/>
                  <a:pt x="493" y="308"/>
                  <a:pt x="486" y="305"/>
                </a:cubicBezTo>
                <a:cubicBezTo>
                  <a:pt x="464" y="295"/>
                  <a:pt x="443" y="308"/>
                  <a:pt x="424" y="300"/>
                </a:cubicBezTo>
                <a:cubicBezTo>
                  <a:pt x="410" y="305"/>
                  <a:pt x="384" y="309"/>
                  <a:pt x="371" y="298"/>
                </a:cubicBezTo>
                <a:cubicBezTo>
                  <a:pt x="362" y="302"/>
                  <a:pt x="354" y="312"/>
                  <a:pt x="343" y="311"/>
                </a:cubicBezTo>
                <a:cubicBezTo>
                  <a:pt x="336" y="311"/>
                  <a:pt x="326" y="298"/>
                  <a:pt x="319" y="297"/>
                </a:cubicBezTo>
                <a:cubicBezTo>
                  <a:pt x="300" y="294"/>
                  <a:pt x="252" y="301"/>
                  <a:pt x="242" y="303"/>
                </a:cubicBezTo>
                <a:cubicBezTo>
                  <a:pt x="189" y="314"/>
                  <a:pt x="134" y="305"/>
                  <a:pt x="86" y="311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dist="12700" dir="2700000" algn="tl" rotWithShape="0">
              <a:schemeClr val="tx1"/>
            </a:outerShdw>
            <a:reflection blurRad="6350" stA="52000" endA="300" endPos="35000" dir="5400000" sy="-100000" algn="bl" rotWithShape="0"/>
          </a:effectLst>
        </p:spPr>
        <p:txBody>
          <a:bodyPr tIns="0" anchor="ctr" anchorCtr="1"/>
          <a:lstStyle/>
          <a:p>
            <a:pPr marL="0" marR="0" lvl="0" indent="0" algn="ctr" defTabSz="1088306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900" b="0" i="1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565091" y="4620157"/>
            <a:ext cx="5268824" cy="968854"/>
          </a:xfrm>
          <a:prstGeom prst="rect">
            <a:avLst/>
          </a:prstGeom>
        </p:spPr>
      </p:pic>
      <p:pic>
        <p:nvPicPr>
          <p:cNvPr id="7172" name="Picture 4" descr="Datei:Frankfurter Allgemeine logo.svg – Wikipedia"/>
          <p:cNvPicPr>
            <a:picLocks noChangeAspect="1" noChangeArrowheads="1"/>
          </p:cNvPicPr>
          <p:nvPr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9503" y="4067450"/>
            <a:ext cx="2727550" cy="575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6" name="Picture 8" descr="Essenskurier und Passant auf Gehweg in Frankfurt totgerast - Lieferando- Fahrer gedenken der SUV-Opfer - Frankfurt - Bild.de"/>
          <p:cNvPicPr>
            <a:picLocks noChangeAspect="1" noChangeArrowheads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839" t="7080" r="9694" b="53936"/>
          <a:stretch/>
        </p:blipFill>
        <p:spPr bwMode="auto">
          <a:xfrm>
            <a:off x="9073547" y="909057"/>
            <a:ext cx="1947881" cy="1140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088988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37719" numSld="999" showWhenStopped="0">
                <p:cTn id="15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  <p:bldLst>
      <p:bldP spid="8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rgbClr val="4DA2CF"/>
            </a:gs>
            <a:gs pos="50000">
              <a:schemeClr val="accent1">
                <a:lumMod val="5000"/>
                <a:lumOff val="95000"/>
              </a:schemeClr>
            </a:gs>
            <a:gs pos="0">
              <a:srgbClr val="FB8441">
                <a:lumMod val="100000"/>
              </a:srgb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9552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2" name="think-cell Slide" r:id="rId4" imgW="233" imgH="233" progId="TCLayout.ActiveDocument.1">
                  <p:embed/>
                </p:oleObj>
              </mc:Choice>
              <mc:Fallback>
                <p:oleObj name="think-cell Slide" r:id="rId4" imgW="233" imgH="23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Google Shape;11;p2">
            <a:extLst>
              <a:ext uri="{FF2B5EF4-FFF2-40B4-BE49-F238E27FC236}">
                <a16:creationId xmlns:a16="http://schemas.microsoft.com/office/drawing/2014/main" id="{B41C9E15-3F69-4C1E-B53A-02C009C0FBDC}"/>
              </a:ext>
            </a:extLst>
          </p:cNvPr>
          <p:cNvSpPr/>
          <p:nvPr/>
        </p:nvSpPr>
        <p:spPr>
          <a:xfrm rot="-5200701" flipH="1">
            <a:off x="4344374" y="-856595"/>
            <a:ext cx="9753303" cy="7044926"/>
          </a:xfrm>
          <a:custGeom>
            <a:avLst/>
            <a:gdLst/>
            <a:ahLst/>
            <a:cxnLst/>
            <a:rect l="l" t="t" r="r" b="b"/>
            <a:pathLst>
              <a:path w="142351" h="98234" extrusionOk="0">
                <a:moveTo>
                  <a:pt x="81862" y="0"/>
                </a:moveTo>
                <a:cubicBezTo>
                  <a:pt x="65570" y="0"/>
                  <a:pt x="64109" y="29096"/>
                  <a:pt x="45181" y="48872"/>
                </a:cubicBezTo>
                <a:cubicBezTo>
                  <a:pt x="34707" y="59813"/>
                  <a:pt x="6721" y="52075"/>
                  <a:pt x="2951" y="71122"/>
                </a:cubicBezTo>
                <a:cubicBezTo>
                  <a:pt x="1" y="86034"/>
                  <a:pt x="15920" y="98234"/>
                  <a:pt x="28240" y="98234"/>
                </a:cubicBezTo>
                <a:cubicBezTo>
                  <a:pt x="28734" y="98234"/>
                  <a:pt x="29223" y="98214"/>
                  <a:pt x="29704" y="98174"/>
                </a:cubicBezTo>
                <a:cubicBezTo>
                  <a:pt x="44940" y="96927"/>
                  <a:pt x="55602" y="88909"/>
                  <a:pt x="70683" y="88909"/>
                </a:cubicBezTo>
                <a:cubicBezTo>
                  <a:pt x="72540" y="88909"/>
                  <a:pt x="74463" y="89031"/>
                  <a:pt x="76470" y="89301"/>
                </a:cubicBezTo>
                <a:cubicBezTo>
                  <a:pt x="83132" y="90208"/>
                  <a:pt x="89465" y="91284"/>
                  <a:pt x="95552" y="91284"/>
                </a:cubicBezTo>
                <a:cubicBezTo>
                  <a:pt x="104248" y="91284"/>
                  <a:pt x="112441" y="89087"/>
                  <a:pt x="120368" y="81062"/>
                </a:cubicBezTo>
                <a:cubicBezTo>
                  <a:pt x="129308" y="71989"/>
                  <a:pt x="142351" y="47138"/>
                  <a:pt x="140816" y="34228"/>
                </a:cubicBezTo>
                <a:cubicBezTo>
                  <a:pt x="138615" y="15382"/>
                  <a:pt x="119601" y="22320"/>
                  <a:pt x="101155" y="8710"/>
                </a:cubicBezTo>
                <a:cubicBezTo>
                  <a:pt x="92850" y="2568"/>
                  <a:pt x="86702" y="0"/>
                  <a:pt x="81862" y="0"/>
                </a:cubicBezTo>
                <a:close/>
              </a:path>
            </a:pathLst>
          </a:custGeom>
          <a:solidFill>
            <a:srgbClr val="D7F1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02" name="Google Shape;12;p2">
            <a:extLst>
              <a:ext uri="{FF2B5EF4-FFF2-40B4-BE49-F238E27FC236}">
                <a16:creationId xmlns:a16="http://schemas.microsoft.com/office/drawing/2014/main" id="{354A48A9-C37D-4BBB-A423-A46905599F44}"/>
              </a:ext>
            </a:extLst>
          </p:cNvPr>
          <p:cNvSpPr/>
          <p:nvPr/>
        </p:nvSpPr>
        <p:spPr>
          <a:xfrm rot="-4690715" flipH="1">
            <a:off x="5738696" y="32582"/>
            <a:ext cx="8384371" cy="5785912"/>
          </a:xfrm>
          <a:custGeom>
            <a:avLst/>
            <a:gdLst/>
            <a:ahLst/>
            <a:cxnLst/>
            <a:rect l="l" t="t" r="r" b="b"/>
            <a:pathLst>
              <a:path w="142351" h="98234" extrusionOk="0">
                <a:moveTo>
                  <a:pt x="81862" y="0"/>
                </a:moveTo>
                <a:cubicBezTo>
                  <a:pt x="65570" y="0"/>
                  <a:pt x="64109" y="29096"/>
                  <a:pt x="45181" y="48872"/>
                </a:cubicBezTo>
                <a:cubicBezTo>
                  <a:pt x="34707" y="59813"/>
                  <a:pt x="6721" y="52075"/>
                  <a:pt x="2951" y="71122"/>
                </a:cubicBezTo>
                <a:cubicBezTo>
                  <a:pt x="1" y="86034"/>
                  <a:pt x="15920" y="98234"/>
                  <a:pt x="28240" y="98234"/>
                </a:cubicBezTo>
                <a:cubicBezTo>
                  <a:pt x="28734" y="98234"/>
                  <a:pt x="29223" y="98214"/>
                  <a:pt x="29704" y="98174"/>
                </a:cubicBezTo>
                <a:cubicBezTo>
                  <a:pt x="44940" y="96927"/>
                  <a:pt x="55602" y="88909"/>
                  <a:pt x="70683" y="88909"/>
                </a:cubicBezTo>
                <a:cubicBezTo>
                  <a:pt x="72540" y="88909"/>
                  <a:pt x="74463" y="89031"/>
                  <a:pt x="76470" y="89301"/>
                </a:cubicBezTo>
                <a:cubicBezTo>
                  <a:pt x="83132" y="90208"/>
                  <a:pt x="89465" y="91284"/>
                  <a:pt x="95552" y="91284"/>
                </a:cubicBezTo>
                <a:cubicBezTo>
                  <a:pt x="104248" y="91284"/>
                  <a:pt x="112441" y="89087"/>
                  <a:pt x="120368" y="81062"/>
                </a:cubicBezTo>
                <a:cubicBezTo>
                  <a:pt x="129308" y="71989"/>
                  <a:pt x="142351" y="47138"/>
                  <a:pt x="140816" y="34228"/>
                </a:cubicBezTo>
                <a:cubicBezTo>
                  <a:pt x="138615" y="15382"/>
                  <a:pt x="119601" y="22320"/>
                  <a:pt x="101155" y="8710"/>
                </a:cubicBezTo>
                <a:cubicBezTo>
                  <a:pt x="92850" y="2568"/>
                  <a:pt x="86702" y="0"/>
                  <a:pt x="81862" y="0"/>
                </a:cubicBezTo>
                <a:close/>
              </a:path>
            </a:pathLst>
          </a:custGeom>
          <a:solidFill>
            <a:srgbClr val="D7F1FF"/>
          </a:solidFill>
          <a:ln w="9525" cap="flat" cmpd="sng">
            <a:solidFill>
              <a:srgbClr val="351C7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" name="TextBox 3"/>
          <p:cNvSpPr txBox="1"/>
          <p:nvPr/>
        </p:nvSpPr>
        <p:spPr>
          <a:xfrm>
            <a:off x="743637" y="2714451"/>
            <a:ext cx="450406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0" b="1" i="1" dirty="0" err="1" smtClean="0">
                <a:latin typeface="Impact" panose="020B0806030902050204" pitchFamily="34" charset="0"/>
              </a:rPr>
              <a:t>SafeRider</a:t>
            </a:r>
            <a:endParaRPr lang="en-US" sz="4800" b="1" i="1" dirty="0">
              <a:latin typeface="Impact" panose="020B0806030902050204" pitchFamily="34" charset="0"/>
            </a:endParaRPr>
          </a:p>
        </p:txBody>
      </p:sp>
      <p:pic>
        <p:nvPicPr>
          <p:cNvPr id="16" name="Grafik 2" descr="Ein Bild, das Text enthält.&#10;&#10;Automatisch generierte Beschreibung">
            <a:extLst>
              <a:ext uri="{FF2B5EF4-FFF2-40B4-BE49-F238E27FC236}">
                <a16:creationId xmlns:a16="http://schemas.microsoft.com/office/drawing/2014/main" id="{C0EACF73-992C-4B49-A65C-54C8742262CF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28741" b="84000" l="15917" r="8808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4301" t="28762" r="14433" b="17843"/>
          <a:stretch/>
        </p:blipFill>
        <p:spPr>
          <a:xfrm>
            <a:off x="340370" y="1547831"/>
            <a:ext cx="4885582" cy="115016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7" name="Google Shape;403;p33">
            <a:extLst>
              <a:ext uri="{FF2B5EF4-FFF2-40B4-BE49-F238E27FC236}">
                <a16:creationId xmlns:a16="http://schemas.microsoft.com/office/drawing/2014/main" id="{3466BDB8-A9B7-4CAD-BFEA-D257C6A0F69A}"/>
              </a:ext>
            </a:extLst>
          </p:cNvPr>
          <p:cNvSpPr/>
          <p:nvPr/>
        </p:nvSpPr>
        <p:spPr>
          <a:xfrm>
            <a:off x="7410367" y="5609235"/>
            <a:ext cx="4141904" cy="45719"/>
          </a:xfrm>
          <a:custGeom>
            <a:avLst/>
            <a:gdLst/>
            <a:ahLst/>
            <a:cxnLst/>
            <a:rect l="l" t="t" r="r" b="b"/>
            <a:pathLst>
              <a:path w="268910" h="1" fill="none" extrusionOk="0">
                <a:moveTo>
                  <a:pt x="0" y="1"/>
                </a:moveTo>
                <a:lnTo>
                  <a:pt x="268910" y="1"/>
                </a:lnTo>
              </a:path>
            </a:pathLst>
          </a:custGeom>
          <a:noFill/>
          <a:ln w="9550" cap="rnd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8" name="Google Shape;440;p36">
            <a:extLst>
              <a:ext uri="{FF2B5EF4-FFF2-40B4-BE49-F238E27FC236}">
                <a16:creationId xmlns:a16="http://schemas.microsoft.com/office/drawing/2014/main" id="{A0A3FAEC-16D1-407E-BFE3-3822FE5135A4}"/>
              </a:ext>
            </a:extLst>
          </p:cNvPr>
          <p:cNvGrpSpPr/>
          <p:nvPr/>
        </p:nvGrpSpPr>
        <p:grpSpPr>
          <a:xfrm flipH="1">
            <a:off x="7254921" y="1528977"/>
            <a:ext cx="4270879" cy="4328091"/>
            <a:chOff x="4992255" y="1108842"/>
            <a:chExt cx="3205933" cy="3248879"/>
          </a:xfrm>
        </p:grpSpPr>
        <p:sp>
          <p:nvSpPr>
            <p:cNvPr id="19" name="Google Shape;441;p36">
              <a:extLst>
                <a:ext uri="{FF2B5EF4-FFF2-40B4-BE49-F238E27FC236}">
                  <a16:creationId xmlns:a16="http://schemas.microsoft.com/office/drawing/2014/main" id="{D4BA96D0-0278-4485-8F36-697A2301A894}"/>
                </a:ext>
              </a:extLst>
            </p:cNvPr>
            <p:cNvSpPr/>
            <p:nvPr/>
          </p:nvSpPr>
          <p:spPr>
            <a:xfrm>
              <a:off x="6472746" y="2952942"/>
              <a:ext cx="360945" cy="738624"/>
            </a:xfrm>
            <a:custGeom>
              <a:avLst/>
              <a:gdLst/>
              <a:ahLst/>
              <a:cxnLst/>
              <a:rect l="l" t="t" r="r" b="b"/>
              <a:pathLst>
                <a:path w="21504" h="44005" extrusionOk="0">
                  <a:moveTo>
                    <a:pt x="6635" y="0"/>
                  </a:moveTo>
                  <a:lnTo>
                    <a:pt x="1" y="44005"/>
                  </a:lnTo>
                  <a:lnTo>
                    <a:pt x="1" y="44005"/>
                  </a:lnTo>
                  <a:lnTo>
                    <a:pt x="9273" y="42366"/>
                  </a:lnTo>
                  <a:lnTo>
                    <a:pt x="21503" y="80"/>
                  </a:lnTo>
                  <a:lnTo>
                    <a:pt x="6635" y="0"/>
                  </a:lnTo>
                  <a:close/>
                </a:path>
              </a:pathLst>
            </a:custGeom>
            <a:solidFill>
              <a:srgbClr val="D6927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20" name="Google Shape;442;p36">
              <a:extLst>
                <a:ext uri="{FF2B5EF4-FFF2-40B4-BE49-F238E27FC236}">
                  <a16:creationId xmlns:a16="http://schemas.microsoft.com/office/drawing/2014/main" id="{A18F202E-5D07-4254-BD43-29AB8E0382E1}"/>
                </a:ext>
              </a:extLst>
            </p:cNvPr>
            <p:cNvSpPr/>
            <p:nvPr/>
          </p:nvSpPr>
          <p:spPr>
            <a:xfrm>
              <a:off x="6472746" y="3453380"/>
              <a:ext cx="216711" cy="238162"/>
            </a:xfrm>
            <a:custGeom>
              <a:avLst/>
              <a:gdLst/>
              <a:ahLst/>
              <a:cxnLst/>
              <a:rect l="l" t="t" r="r" b="b"/>
              <a:pathLst>
                <a:path w="12911" h="14189" extrusionOk="0">
                  <a:moveTo>
                    <a:pt x="12910" y="0"/>
                  </a:moveTo>
                  <a:lnTo>
                    <a:pt x="1999" y="959"/>
                  </a:lnTo>
                  <a:lnTo>
                    <a:pt x="1" y="14189"/>
                  </a:lnTo>
                  <a:lnTo>
                    <a:pt x="9273" y="12550"/>
                  </a:lnTo>
                  <a:lnTo>
                    <a:pt x="12910" y="0"/>
                  </a:lnTo>
                  <a:close/>
                </a:path>
              </a:pathLst>
            </a:custGeom>
            <a:solidFill>
              <a:srgbClr val="FDFBF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443;p36">
              <a:extLst>
                <a:ext uri="{FF2B5EF4-FFF2-40B4-BE49-F238E27FC236}">
                  <a16:creationId xmlns:a16="http://schemas.microsoft.com/office/drawing/2014/main" id="{C6DA6D14-79D7-4255-8AB2-EBBFC519595F}"/>
                </a:ext>
              </a:extLst>
            </p:cNvPr>
            <p:cNvSpPr/>
            <p:nvPr/>
          </p:nvSpPr>
          <p:spPr>
            <a:xfrm>
              <a:off x="6437197" y="3643881"/>
              <a:ext cx="504507" cy="205969"/>
            </a:xfrm>
            <a:custGeom>
              <a:avLst/>
              <a:gdLst/>
              <a:ahLst/>
              <a:cxnLst/>
              <a:rect l="l" t="t" r="r" b="b"/>
              <a:pathLst>
                <a:path w="30057" h="12271" extrusionOk="0">
                  <a:moveTo>
                    <a:pt x="2359" y="1"/>
                  </a:moveTo>
                  <a:lnTo>
                    <a:pt x="1" y="9873"/>
                  </a:lnTo>
                  <a:lnTo>
                    <a:pt x="29656" y="12271"/>
                  </a:lnTo>
                  <a:cubicBezTo>
                    <a:pt x="30056" y="10433"/>
                    <a:pt x="26779" y="8354"/>
                    <a:pt x="25140" y="7395"/>
                  </a:cubicBezTo>
                  <a:lnTo>
                    <a:pt x="11591" y="561"/>
                  </a:lnTo>
                  <a:lnTo>
                    <a:pt x="2359" y="1"/>
                  </a:lnTo>
                  <a:close/>
                </a:path>
              </a:pathLst>
            </a:custGeom>
            <a:solidFill>
              <a:srgbClr val="1A170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444;p36">
              <a:extLst>
                <a:ext uri="{FF2B5EF4-FFF2-40B4-BE49-F238E27FC236}">
                  <a16:creationId xmlns:a16="http://schemas.microsoft.com/office/drawing/2014/main" id="{92B68F03-3163-4E08-B6AF-C8619BB6CB18}"/>
                </a:ext>
              </a:extLst>
            </p:cNvPr>
            <p:cNvSpPr/>
            <p:nvPr/>
          </p:nvSpPr>
          <p:spPr>
            <a:xfrm>
              <a:off x="6743322" y="3740021"/>
              <a:ext cx="208419" cy="125938"/>
            </a:xfrm>
            <a:custGeom>
              <a:avLst/>
              <a:gdLst/>
              <a:ahLst/>
              <a:cxnLst/>
              <a:rect l="l" t="t" r="r" b="b"/>
              <a:pathLst>
                <a:path w="12417" h="7503" extrusionOk="0">
                  <a:moveTo>
                    <a:pt x="6280" y="0"/>
                  </a:moveTo>
                  <a:cubicBezTo>
                    <a:pt x="4624" y="0"/>
                    <a:pt x="1" y="593"/>
                    <a:pt x="67" y="7222"/>
                  </a:cubicBezTo>
                  <a:lnTo>
                    <a:pt x="11617" y="7502"/>
                  </a:lnTo>
                  <a:lnTo>
                    <a:pt x="12417" y="3186"/>
                  </a:lnTo>
                  <a:lnTo>
                    <a:pt x="6861" y="28"/>
                  </a:lnTo>
                  <a:cubicBezTo>
                    <a:pt x="6861" y="28"/>
                    <a:pt x="6641" y="0"/>
                    <a:pt x="628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445;p36">
              <a:extLst>
                <a:ext uri="{FF2B5EF4-FFF2-40B4-BE49-F238E27FC236}">
                  <a16:creationId xmlns:a16="http://schemas.microsoft.com/office/drawing/2014/main" id="{E55152E4-72FE-495E-88EB-6D6789EBEB40}"/>
                </a:ext>
              </a:extLst>
            </p:cNvPr>
            <p:cNvSpPr/>
            <p:nvPr/>
          </p:nvSpPr>
          <p:spPr>
            <a:xfrm>
              <a:off x="6565998" y="3614660"/>
              <a:ext cx="108683" cy="58764"/>
            </a:xfrm>
            <a:custGeom>
              <a:avLst/>
              <a:gdLst/>
              <a:ahLst/>
              <a:cxnLst/>
              <a:rect l="l" t="t" r="r" b="b"/>
              <a:pathLst>
                <a:path w="6475" h="3501" extrusionOk="0">
                  <a:moveTo>
                    <a:pt x="3767" y="1"/>
                  </a:moveTo>
                  <a:cubicBezTo>
                    <a:pt x="2969" y="1"/>
                    <a:pt x="2202" y="355"/>
                    <a:pt x="1679" y="983"/>
                  </a:cubicBezTo>
                  <a:lnTo>
                    <a:pt x="0" y="2981"/>
                  </a:lnTo>
                  <a:lnTo>
                    <a:pt x="6315" y="3501"/>
                  </a:lnTo>
                  <a:lnTo>
                    <a:pt x="6355" y="3021"/>
                  </a:lnTo>
                  <a:cubicBezTo>
                    <a:pt x="6475" y="1622"/>
                    <a:pt x="5676" y="143"/>
                    <a:pt x="4117" y="23"/>
                  </a:cubicBezTo>
                  <a:cubicBezTo>
                    <a:pt x="4000" y="8"/>
                    <a:pt x="3883" y="1"/>
                    <a:pt x="3767" y="1"/>
                  </a:cubicBezTo>
                  <a:close/>
                </a:path>
              </a:pathLst>
            </a:custGeom>
            <a:solidFill>
              <a:srgbClr val="1A170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446;p36">
              <a:extLst>
                <a:ext uri="{FF2B5EF4-FFF2-40B4-BE49-F238E27FC236}">
                  <a16:creationId xmlns:a16="http://schemas.microsoft.com/office/drawing/2014/main" id="{AEB41741-B61E-4D6F-AF8C-4C8658955C0D}"/>
                </a:ext>
              </a:extLst>
            </p:cNvPr>
            <p:cNvSpPr/>
            <p:nvPr/>
          </p:nvSpPr>
          <p:spPr>
            <a:xfrm>
              <a:off x="6431826" y="3778054"/>
              <a:ext cx="502493" cy="97957"/>
            </a:xfrm>
            <a:custGeom>
              <a:avLst/>
              <a:gdLst/>
              <a:ahLst/>
              <a:cxnLst/>
              <a:rect l="l" t="t" r="r" b="b"/>
              <a:pathLst>
                <a:path w="29937" h="5836" extrusionOk="0">
                  <a:moveTo>
                    <a:pt x="680" y="0"/>
                  </a:moveTo>
                  <a:lnTo>
                    <a:pt x="1" y="3438"/>
                  </a:lnTo>
                  <a:lnTo>
                    <a:pt x="29817" y="5836"/>
                  </a:lnTo>
                  <a:lnTo>
                    <a:pt x="29936" y="4277"/>
                  </a:lnTo>
                  <a:lnTo>
                    <a:pt x="68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447;p36">
              <a:extLst>
                <a:ext uri="{FF2B5EF4-FFF2-40B4-BE49-F238E27FC236}">
                  <a16:creationId xmlns:a16="http://schemas.microsoft.com/office/drawing/2014/main" id="{615EDC65-404D-4441-95DB-B4536DCA884B}"/>
                </a:ext>
              </a:extLst>
            </p:cNvPr>
            <p:cNvSpPr/>
            <p:nvPr/>
          </p:nvSpPr>
          <p:spPr>
            <a:xfrm>
              <a:off x="6685400" y="3704388"/>
              <a:ext cx="59721" cy="27057"/>
            </a:xfrm>
            <a:custGeom>
              <a:avLst/>
              <a:gdLst/>
              <a:ahLst/>
              <a:cxnLst/>
              <a:rect l="l" t="t" r="r" b="b"/>
              <a:pathLst>
                <a:path w="3558" h="1612" extrusionOk="0">
                  <a:moveTo>
                    <a:pt x="2856" y="1"/>
                  </a:moveTo>
                  <a:cubicBezTo>
                    <a:pt x="1800" y="1"/>
                    <a:pt x="811" y="432"/>
                    <a:pt x="120" y="1192"/>
                  </a:cubicBezTo>
                  <a:cubicBezTo>
                    <a:pt x="0" y="1272"/>
                    <a:pt x="0" y="1432"/>
                    <a:pt x="120" y="1552"/>
                  </a:cubicBezTo>
                  <a:cubicBezTo>
                    <a:pt x="160" y="1592"/>
                    <a:pt x="220" y="1612"/>
                    <a:pt x="280" y="1612"/>
                  </a:cubicBezTo>
                  <a:cubicBezTo>
                    <a:pt x="340" y="1612"/>
                    <a:pt x="400" y="1592"/>
                    <a:pt x="440" y="1552"/>
                  </a:cubicBezTo>
                  <a:cubicBezTo>
                    <a:pt x="1075" y="846"/>
                    <a:pt x="1960" y="452"/>
                    <a:pt x="2901" y="452"/>
                  </a:cubicBezTo>
                  <a:cubicBezTo>
                    <a:pt x="3026" y="452"/>
                    <a:pt x="3152" y="459"/>
                    <a:pt x="3278" y="473"/>
                  </a:cubicBezTo>
                  <a:lnTo>
                    <a:pt x="3398" y="473"/>
                  </a:lnTo>
                  <a:cubicBezTo>
                    <a:pt x="3478" y="433"/>
                    <a:pt x="3518" y="353"/>
                    <a:pt x="3558" y="313"/>
                  </a:cubicBezTo>
                  <a:cubicBezTo>
                    <a:pt x="3558" y="153"/>
                    <a:pt x="3478" y="33"/>
                    <a:pt x="3358" y="33"/>
                  </a:cubicBezTo>
                  <a:cubicBezTo>
                    <a:pt x="3190" y="11"/>
                    <a:pt x="3022" y="1"/>
                    <a:pt x="2856" y="1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448;p36">
              <a:extLst>
                <a:ext uri="{FF2B5EF4-FFF2-40B4-BE49-F238E27FC236}">
                  <a16:creationId xmlns:a16="http://schemas.microsoft.com/office/drawing/2014/main" id="{D9F53A26-5267-4B83-991D-03F923CD1322}"/>
                </a:ext>
              </a:extLst>
            </p:cNvPr>
            <p:cNvSpPr/>
            <p:nvPr/>
          </p:nvSpPr>
          <p:spPr>
            <a:xfrm>
              <a:off x="6657891" y="3690306"/>
              <a:ext cx="59721" cy="27057"/>
            </a:xfrm>
            <a:custGeom>
              <a:avLst/>
              <a:gdLst/>
              <a:ahLst/>
              <a:cxnLst/>
              <a:rect l="l" t="t" r="r" b="b"/>
              <a:pathLst>
                <a:path w="3558" h="1612" extrusionOk="0">
                  <a:moveTo>
                    <a:pt x="2856" y="0"/>
                  </a:moveTo>
                  <a:cubicBezTo>
                    <a:pt x="1801" y="0"/>
                    <a:pt x="812" y="432"/>
                    <a:pt x="121" y="1192"/>
                  </a:cubicBezTo>
                  <a:cubicBezTo>
                    <a:pt x="1" y="1272"/>
                    <a:pt x="1" y="1432"/>
                    <a:pt x="121" y="1551"/>
                  </a:cubicBezTo>
                  <a:cubicBezTo>
                    <a:pt x="161" y="1591"/>
                    <a:pt x="221" y="1611"/>
                    <a:pt x="281" y="1611"/>
                  </a:cubicBezTo>
                  <a:cubicBezTo>
                    <a:pt x="341" y="1611"/>
                    <a:pt x="400" y="1591"/>
                    <a:pt x="440" y="1551"/>
                  </a:cubicBezTo>
                  <a:cubicBezTo>
                    <a:pt x="1076" y="846"/>
                    <a:pt x="1960" y="451"/>
                    <a:pt x="2874" y="451"/>
                  </a:cubicBezTo>
                  <a:cubicBezTo>
                    <a:pt x="2995" y="451"/>
                    <a:pt x="3117" y="458"/>
                    <a:pt x="3238" y="472"/>
                  </a:cubicBezTo>
                  <a:cubicBezTo>
                    <a:pt x="3258" y="492"/>
                    <a:pt x="3288" y="502"/>
                    <a:pt x="3318" y="502"/>
                  </a:cubicBezTo>
                  <a:cubicBezTo>
                    <a:pt x="3348" y="502"/>
                    <a:pt x="3378" y="492"/>
                    <a:pt x="3398" y="472"/>
                  </a:cubicBezTo>
                  <a:cubicBezTo>
                    <a:pt x="3478" y="432"/>
                    <a:pt x="3518" y="392"/>
                    <a:pt x="3518" y="312"/>
                  </a:cubicBezTo>
                  <a:cubicBezTo>
                    <a:pt x="3558" y="153"/>
                    <a:pt x="3478" y="33"/>
                    <a:pt x="3358" y="33"/>
                  </a:cubicBezTo>
                  <a:cubicBezTo>
                    <a:pt x="3190" y="11"/>
                    <a:pt x="3022" y="0"/>
                    <a:pt x="2856" y="0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449;p36">
              <a:extLst>
                <a:ext uri="{FF2B5EF4-FFF2-40B4-BE49-F238E27FC236}">
                  <a16:creationId xmlns:a16="http://schemas.microsoft.com/office/drawing/2014/main" id="{AD83AE70-2F49-42F4-8306-A2A500938E98}"/>
                </a:ext>
              </a:extLst>
            </p:cNvPr>
            <p:cNvSpPr/>
            <p:nvPr/>
          </p:nvSpPr>
          <p:spPr>
            <a:xfrm>
              <a:off x="6633621" y="3676879"/>
              <a:ext cx="61198" cy="26856"/>
            </a:xfrm>
            <a:custGeom>
              <a:avLst/>
              <a:gdLst/>
              <a:ahLst/>
              <a:cxnLst/>
              <a:rect l="l" t="t" r="r" b="b"/>
              <a:pathLst>
                <a:path w="3646" h="1600" extrusionOk="0">
                  <a:moveTo>
                    <a:pt x="2878" y="1"/>
                  </a:moveTo>
                  <a:cubicBezTo>
                    <a:pt x="1847" y="1"/>
                    <a:pt x="853" y="433"/>
                    <a:pt x="128" y="1192"/>
                  </a:cubicBezTo>
                  <a:cubicBezTo>
                    <a:pt x="1" y="1383"/>
                    <a:pt x="152" y="1599"/>
                    <a:pt x="339" y="1599"/>
                  </a:cubicBezTo>
                  <a:cubicBezTo>
                    <a:pt x="388" y="1599"/>
                    <a:pt x="439" y="1585"/>
                    <a:pt x="488" y="1552"/>
                  </a:cubicBezTo>
                  <a:cubicBezTo>
                    <a:pt x="1123" y="846"/>
                    <a:pt x="2007" y="452"/>
                    <a:pt x="2921" y="452"/>
                  </a:cubicBezTo>
                  <a:cubicBezTo>
                    <a:pt x="3042" y="452"/>
                    <a:pt x="3164" y="459"/>
                    <a:pt x="3285" y="473"/>
                  </a:cubicBezTo>
                  <a:cubicBezTo>
                    <a:pt x="3305" y="493"/>
                    <a:pt x="3325" y="503"/>
                    <a:pt x="3350" y="503"/>
                  </a:cubicBezTo>
                  <a:cubicBezTo>
                    <a:pt x="3375" y="503"/>
                    <a:pt x="3405" y="493"/>
                    <a:pt x="3445" y="473"/>
                  </a:cubicBezTo>
                  <a:cubicBezTo>
                    <a:pt x="3645" y="393"/>
                    <a:pt x="3605" y="73"/>
                    <a:pt x="3365" y="33"/>
                  </a:cubicBezTo>
                  <a:cubicBezTo>
                    <a:pt x="3202" y="12"/>
                    <a:pt x="3040" y="1"/>
                    <a:pt x="2878" y="1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450;p36">
              <a:extLst>
                <a:ext uri="{FF2B5EF4-FFF2-40B4-BE49-F238E27FC236}">
                  <a16:creationId xmlns:a16="http://schemas.microsoft.com/office/drawing/2014/main" id="{AD8EBE96-C9BF-4C53-B545-37DEA24B403B}"/>
                </a:ext>
              </a:extLst>
            </p:cNvPr>
            <p:cNvSpPr/>
            <p:nvPr/>
          </p:nvSpPr>
          <p:spPr>
            <a:xfrm>
              <a:off x="6203747" y="2649063"/>
              <a:ext cx="646726" cy="397620"/>
            </a:xfrm>
            <a:custGeom>
              <a:avLst/>
              <a:gdLst/>
              <a:ahLst/>
              <a:cxnLst/>
              <a:rect l="l" t="t" r="r" b="b"/>
              <a:pathLst>
                <a:path w="38530" h="23689" extrusionOk="0">
                  <a:moveTo>
                    <a:pt x="22503" y="0"/>
                  </a:moveTo>
                  <a:lnTo>
                    <a:pt x="1" y="7154"/>
                  </a:lnTo>
                  <a:lnTo>
                    <a:pt x="27059" y="22742"/>
                  </a:lnTo>
                  <a:cubicBezTo>
                    <a:pt x="28152" y="23379"/>
                    <a:pt x="29366" y="23688"/>
                    <a:pt x="30574" y="23688"/>
                  </a:cubicBezTo>
                  <a:cubicBezTo>
                    <a:pt x="32547" y="23688"/>
                    <a:pt x="34504" y="22864"/>
                    <a:pt x="35892" y="21303"/>
                  </a:cubicBezTo>
                  <a:cubicBezTo>
                    <a:pt x="38529" y="18385"/>
                    <a:pt x="38250" y="13829"/>
                    <a:pt x="35292" y="11231"/>
                  </a:cubicBezTo>
                  <a:lnTo>
                    <a:pt x="22503" y="0"/>
                  </a:lnTo>
                  <a:close/>
                </a:path>
              </a:pathLst>
            </a:custGeom>
            <a:solidFill>
              <a:srgbClr val="D6927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451;p36">
              <a:extLst>
                <a:ext uri="{FF2B5EF4-FFF2-40B4-BE49-F238E27FC236}">
                  <a16:creationId xmlns:a16="http://schemas.microsoft.com/office/drawing/2014/main" id="{2CA6F3CB-72F7-45D3-91B6-F6FD0FC4CEB9}"/>
                </a:ext>
              </a:extLst>
            </p:cNvPr>
            <p:cNvSpPr/>
            <p:nvPr/>
          </p:nvSpPr>
          <p:spPr>
            <a:xfrm>
              <a:off x="5766388" y="2323030"/>
              <a:ext cx="815096" cy="593736"/>
            </a:xfrm>
            <a:custGeom>
              <a:avLst/>
              <a:gdLst/>
              <a:ahLst/>
              <a:cxnLst/>
              <a:rect l="l" t="t" r="r" b="b"/>
              <a:pathLst>
                <a:path w="48561" h="35373" extrusionOk="0">
                  <a:moveTo>
                    <a:pt x="9712" y="1"/>
                  </a:moveTo>
                  <a:cubicBezTo>
                    <a:pt x="9712" y="1"/>
                    <a:pt x="0" y="11312"/>
                    <a:pt x="14308" y="22742"/>
                  </a:cubicBezTo>
                  <a:lnTo>
                    <a:pt x="32214" y="35372"/>
                  </a:lnTo>
                  <a:lnTo>
                    <a:pt x="48561" y="19425"/>
                  </a:lnTo>
                  <a:lnTo>
                    <a:pt x="35491" y="7155"/>
                  </a:lnTo>
                  <a:lnTo>
                    <a:pt x="30295" y="4277"/>
                  </a:lnTo>
                  <a:lnTo>
                    <a:pt x="30096" y="4237"/>
                  </a:lnTo>
                  <a:lnTo>
                    <a:pt x="9712" y="1"/>
                  </a:lnTo>
                  <a:close/>
                </a:path>
              </a:pathLst>
            </a:custGeom>
            <a:solidFill>
              <a:srgbClr val="4DA2C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452;p36">
              <a:extLst>
                <a:ext uri="{FF2B5EF4-FFF2-40B4-BE49-F238E27FC236}">
                  <a16:creationId xmlns:a16="http://schemas.microsoft.com/office/drawing/2014/main" id="{C66B5CE8-B048-4F9A-9F6F-5F1F194E44F3}"/>
                </a:ext>
              </a:extLst>
            </p:cNvPr>
            <p:cNvSpPr/>
            <p:nvPr/>
          </p:nvSpPr>
          <p:spPr>
            <a:xfrm>
              <a:off x="6523736" y="1825344"/>
              <a:ext cx="262987" cy="715796"/>
            </a:xfrm>
            <a:custGeom>
              <a:avLst/>
              <a:gdLst/>
              <a:ahLst/>
              <a:cxnLst/>
              <a:rect l="l" t="t" r="r" b="b"/>
              <a:pathLst>
                <a:path w="15668" h="42645" extrusionOk="0">
                  <a:moveTo>
                    <a:pt x="8596" y="0"/>
                  </a:moveTo>
                  <a:cubicBezTo>
                    <a:pt x="8348" y="0"/>
                    <a:pt x="8094" y="12"/>
                    <a:pt x="7834" y="37"/>
                  </a:cubicBezTo>
                  <a:cubicBezTo>
                    <a:pt x="3278" y="476"/>
                    <a:pt x="0" y="4513"/>
                    <a:pt x="480" y="9030"/>
                  </a:cubicBezTo>
                  <a:lnTo>
                    <a:pt x="4037" y="36487"/>
                  </a:lnTo>
                  <a:cubicBezTo>
                    <a:pt x="4457" y="40056"/>
                    <a:pt x="7480" y="42644"/>
                    <a:pt x="10935" y="42644"/>
                  </a:cubicBezTo>
                  <a:cubicBezTo>
                    <a:pt x="11426" y="42644"/>
                    <a:pt x="11927" y="42592"/>
                    <a:pt x="12430" y="42482"/>
                  </a:cubicBezTo>
                  <a:cubicBezTo>
                    <a:pt x="15668" y="41763"/>
                    <a:pt x="15668" y="38885"/>
                    <a:pt x="15588" y="35568"/>
                  </a:cubicBezTo>
                  <a:lnTo>
                    <a:pt x="15388" y="7870"/>
                  </a:lnTo>
                  <a:cubicBezTo>
                    <a:pt x="15237" y="3454"/>
                    <a:pt x="12804" y="0"/>
                    <a:pt x="8596" y="0"/>
                  </a:cubicBezTo>
                  <a:close/>
                </a:path>
              </a:pathLst>
            </a:custGeom>
            <a:solidFill>
              <a:srgbClr val="D6927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453;p36">
              <a:extLst>
                <a:ext uri="{FF2B5EF4-FFF2-40B4-BE49-F238E27FC236}">
                  <a16:creationId xmlns:a16="http://schemas.microsoft.com/office/drawing/2014/main" id="{DD9FFF6E-59C3-4B09-BDB8-9E1DF7337FBF}"/>
                </a:ext>
              </a:extLst>
            </p:cNvPr>
            <p:cNvSpPr/>
            <p:nvPr/>
          </p:nvSpPr>
          <p:spPr>
            <a:xfrm>
              <a:off x="6465378" y="1768831"/>
              <a:ext cx="336103" cy="411350"/>
            </a:xfrm>
            <a:custGeom>
              <a:avLst/>
              <a:gdLst/>
              <a:ahLst/>
              <a:cxnLst/>
              <a:rect l="l" t="t" r="r" b="b"/>
              <a:pathLst>
                <a:path w="20024" h="24507" extrusionOk="0">
                  <a:moveTo>
                    <a:pt x="12298" y="0"/>
                  </a:moveTo>
                  <a:cubicBezTo>
                    <a:pt x="10856" y="0"/>
                    <a:pt x="9299" y="231"/>
                    <a:pt x="7714" y="646"/>
                  </a:cubicBezTo>
                  <a:lnTo>
                    <a:pt x="7394" y="726"/>
                  </a:lnTo>
                  <a:cubicBezTo>
                    <a:pt x="2958" y="2085"/>
                    <a:pt x="0" y="6321"/>
                    <a:pt x="360" y="10958"/>
                  </a:cubicBezTo>
                  <a:lnTo>
                    <a:pt x="1199" y="24507"/>
                  </a:lnTo>
                  <a:lnTo>
                    <a:pt x="19824" y="19990"/>
                  </a:lnTo>
                  <a:cubicBezTo>
                    <a:pt x="19824" y="19990"/>
                    <a:pt x="20024" y="8919"/>
                    <a:pt x="19784" y="6242"/>
                  </a:cubicBezTo>
                  <a:cubicBezTo>
                    <a:pt x="19373" y="1754"/>
                    <a:pt x="16273" y="0"/>
                    <a:pt x="12298" y="0"/>
                  </a:cubicBezTo>
                  <a:close/>
                </a:path>
              </a:pathLst>
            </a:custGeom>
            <a:solidFill>
              <a:srgbClr val="4DA2C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454;p36">
              <a:extLst>
                <a:ext uri="{FF2B5EF4-FFF2-40B4-BE49-F238E27FC236}">
                  <a16:creationId xmlns:a16="http://schemas.microsoft.com/office/drawing/2014/main" id="{8627E183-5823-4BF4-A879-84AABDFC1177}"/>
                </a:ext>
              </a:extLst>
            </p:cNvPr>
            <p:cNvSpPr/>
            <p:nvPr/>
          </p:nvSpPr>
          <p:spPr>
            <a:xfrm>
              <a:off x="6574709" y="2332395"/>
              <a:ext cx="678920" cy="277876"/>
            </a:xfrm>
            <a:custGeom>
              <a:avLst/>
              <a:gdLst/>
              <a:ahLst/>
              <a:cxnLst/>
              <a:rect l="l" t="t" r="r" b="b"/>
              <a:pathLst>
                <a:path w="40448" h="16555" extrusionOk="0">
                  <a:moveTo>
                    <a:pt x="5384" y="0"/>
                  </a:moveTo>
                  <a:cubicBezTo>
                    <a:pt x="3623" y="0"/>
                    <a:pt x="2181" y="800"/>
                    <a:pt x="1400" y="2920"/>
                  </a:cubicBezTo>
                  <a:cubicBezTo>
                    <a:pt x="1" y="6597"/>
                    <a:pt x="1839" y="10674"/>
                    <a:pt x="5556" y="12033"/>
                  </a:cubicBezTo>
                  <a:lnTo>
                    <a:pt x="38090" y="16469"/>
                  </a:lnTo>
                  <a:cubicBezTo>
                    <a:pt x="38276" y="16528"/>
                    <a:pt x="38444" y="16555"/>
                    <a:pt x="38594" y="16555"/>
                  </a:cubicBezTo>
                  <a:cubicBezTo>
                    <a:pt x="39574" y="16555"/>
                    <a:pt x="39851" y="15398"/>
                    <a:pt x="40128" y="14151"/>
                  </a:cubicBezTo>
                  <a:cubicBezTo>
                    <a:pt x="40448" y="12952"/>
                    <a:pt x="39449" y="11793"/>
                    <a:pt x="38290" y="11273"/>
                  </a:cubicBezTo>
                  <a:lnTo>
                    <a:pt x="9993" y="1241"/>
                  </a:lnTo>
                  <a:cubicBezTo>
                    <a:pt x="8369" y="500"/>
                    <a:pt x="6777" y="0"/>
                    <a:pt x="5384" y="0"/>
                  </a:cubicBezTo>
                  <a:close/>
                </a:path>
              </a:pathLst>
            </a:custGeom>
            <a:solidFill>
              <a:srgbClr val="D6927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455;p36">
              <a:extLst>
                <a:ext uri="{FF2B5EF4-FFF2-40B4-BE49-F238E27FC236}">
                  <a16:creationId xmlns:a16="http://schemas.microsoft.com/office/drawing/2014/main" id="{338AA4BA-AE33-4B3B-A857-32D4B6F11296}"/>
                </a:ext>
              </a:extLst>
            </p:cNvPr>
            <p:cNvSpPr/>
            <p:nvPr/>
          </p:nvSpPr>
          <p:spPr>
            <a:xfrm>
              <a:off x="7155640" y="2495538"/>
              <a:ext cx="240193" cy="200413"/>
            </a:xfrm>
            <a:custGeom>
              <a:avLst/>
              <a:gdLst/>
              <a:ahLst/>
              <a:cxnLst/>
              <a:rect l="l" t="t" r="r" b="b"/>
              <a:pathLst>
                <a:path w="14310" h="11940" extrusionOk="0">
                  <a:moveTo>
                    <a:pt x="9850" y="0"/>
                  </a:moveTo>
                  <a:cubicBezTo>
                    <a:pt x="9672" y="0"/>
                    <a:pt x="9493" y="11"/>
                    <a:pt x="9313" y="34"/>
                  </a:cubicBezTo>
                  <a:lnTo>
                    <a:pt x="1999" y="994"/>
                  </a:lnTo>
                  <a:lnTo>
                    <a:pt x="1" y="6309"/>
                  </a:lnTo>
                  <a:cubicBezTo>
                    <a:pt x="1" y="6309"/>
                    <a:pt x="5156" y="11185"/>
                    <a:pt x="7515" y="11825"/>
                  </a:cubicBezTo>
                  <a:cubicBezTo>
                    <a:pt x="7809" y="11901"/>
                    <a:pt x="8114" y="11939"/>
                    <a:pt x="8424" y="11939"/>
                  </a:cubicBezTo>
                  <a:cubicBezTo>
                    <a:pt x="10562" y="11939"/>
                    <a:pt x="12967" y="10133"/>
                    <a:pt x="13909" y="6469"/>
                  </a:cubicBezTo>
                  <a:cubicBezTo>
                    <a:pt x="14309" y="4871"/>
                    <a:pt x="14069" y="3232"/>
                    <a:pt x="13230" y="1833"/>
                  </a:cubicBezTo>
                  <a:cubicBezTo>
                    <a:pt x="12488" y="666"/>
                    <a:pt x="11213" y="0"/>
                    <a:pt x="985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456;p36">
              <a:extLst>
                <a:ext uri="{FF2B5EF4-FFF2-40B4-BE49-F238E27FC236}">
                  <a16:creationId xmlns:a16="http://schemas.microsoft.com/office/drawing/2014/main" id="{1DF1D689-29E3-4609-A84C-0F4DE5784251}"/>
                </a:ext>
              </a:extLst>
            </p:cNvPr>
            <p:cNvSpPr/>
            <p:nvPr/>
          </p:nvSpPr>
          <p:spPr>
            <a:xfrm>
              <a:off x="7112035" y="2495437"/>
              <a:ext cx="77177" cy="81189"/>
            </a:xfrm>
            <a:custGeom>
              <a:avLst/>
              <a:gdLst/>
              <a:ahLst/>
              <a:cxnLst/>
              <a:rect l="l" t="t" r="r" b="b"/>
              <a:pathLst>
                <a:path w="4598" h="4837" extrusionOk="0">
                  <a:moveTo>
                    <a:pt x="1919" y="0"/>
                  </a:moveTo>
                  <a:lnTo>
                    <a:pt x="1" y="4517"/>
                  </a:lnTo>
                  <a:lnTo>
                    <a:pt x="4597" y="4837"/>
                  </a:lnTo>
                  <a:lnTo>
                    <a:pt x="4597" y="1000"/>
                  </a:lnTo>
                  <a:lnTo>
                    <a:pt x="191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" name="Google Shape;457;p36">
              <a:extLst>
                <a:ext uri="{FF2B5EF4-FFF2-40B4-BE49-F238E27FC236}">
                  <a16:creationId xmlns:a16="http://schemas.microsoft.com/office/drawing/2014/main" id="{C2784A08-201A-4E99-8C87-2999EF8BF10F}"/>
                </a:ext>
              </a:extLst>
            </p:cNvPr>
            <p:cNvSpPr/>
            <p:nvPr/>
          </p:nvSpPr>
          <p:spPr>
            <a:xfrm>
              <a:off x="7136825" y="2549063"/>
              <a:ext cx="146969" cy="123554"/>
            </a:xfrm>
            <a:custGeom>
              <a:avLst/>
              <a:gdLst/>
              <a:ahLst/>
              <a:cxnLst/>
              <a:rect l="l" t="t" r="r" b="b"/>
              <a:pathLst>
                <a:path w="8756" h="7361" extrusionOk="0">
                  <a:moveTo>
                    <a:pt x="4781" y="0"/>
                  </a:moveTo>
                  <a:cubicBezTo>
                    <a:pt x="1832" y="0"/>
                    <a:pt x="0" y="3398"/>
                    <a:pt x="1841" y="5878"/>
                  </a:cubicBezTo>
                  <a:cubicBezTo>
                    <a:pt x="2597" y="6897"/>
                    <a:pt x="3681" y="7361"/>
                    <a:pt x="4754" y="7361"/>
                  </a:cubicBezTo>
                  <a:cubicBezTo>
                    <a:pt x="6461" y="7361"/>
                    <a:pt x="8141" y="6187"/>
                    <a:pt x="8436" y="4199"/>
                  </a:cubicBezTo>
                  <a:cubicBezTo>
                    <a:pt x="8755" y="2201"/>
                    <a:pt x="7357" y="323"/>
                    <a:pt x="5358" y="43"/>
                  </a:cubicBezTo>
                  <a:cubicBezTo>
                    <a:pt x="5162" y="14"/>
                    <a:pt x="4969" y="0"/>
                    <a:pt x="4781" y="0"/>
                  </a:cubicBezTo>
                  <a:close/>
                </a:path>
              </a:pathLst>
            </a:custGeom>
            <a:solidFill>
              <a:srgbClr val="20124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458;p36">
              <a:extLst>
                <a:ext uri="{FF2B5EF4-FFF2-40B4-BE49-F238E27FC236}">
                  <a16:creationId xmlns:a16="http://schemas.microsoft.com/office/drawing/2014/main" id="{A4491E83-2A7F-4959-A635-0CDD04B55B3D}"/>
                </a:ext>
              </a:extLst>
            </p:cNvPr>
            <p:cNvSpPr/>
            <p:nvPr/>
          </p:nvSpPr>
          <p:spPr>
            <a:xfrm>
              <a:off x="5058670" y="3168988"/>
              <a:ext cx="1170653" cy="1127012"/>
            </a:xfrm>
            <a:custGeom>
              <a:avLst/>
              <a:gdLst/>
              <a:ahLst/>
              <a:cxnLst/>
              <a:rect l="l" t="t" r="r" b="b"/>
              <a:pathLst>
                <a:path w="69744" h="67144" extrusionOk="0">
                  <a:moveTo>
                    <a:pt x="36171" y="4914"/>
                  </a:moveTo>
                  <a:cubicBezTo>
                    <a:pt x="52038" y="4914"/>
                    <a:pt x="64868" y="17744"/>
                    <a:pt x="64908" y="33571"/>
                  </a:cubicBezTo>
                  <a:cubicBezTo>
                    <a:pt x="64908" y="45161"/>
                    <a:pt x="57913" y="55633"/>
                    <a:pt x="47202" y="60069"/>
                  </a:cubicBezTo>
                  <a:cubicBezTo>
                    <a:pt x="43650" y="61540"/>
                    <a:pt x="39917" y="62256"/>
                    <a:pt x="36216" y="62256"/>
                  </a:cubicBezTo>
                  <a:cubicBezTo>
                    <a:pt x="28757" y="62256"/>
                    <a:pt x="21424" y="59350"/>
                    <a:pt x="15947" y="53874"/>
                  </a:cubicBezTo>
                  <a:cubicBezTo>
                    <a:pt x="7754" y="45681"/>
                    <a:pt x="5276" y="33331"/>
                    <a:pt x="9712" y="22620"/>
                  </a:cubicBezTo>
                  <a:cubicBezTo>
                    <a:pt x="14149" y="11908"/>
                    <a:pt x="24580" y="4914"/>
                    <a:pt x="36171" y="4914"/>
                  </a:cubicBezTo>
                  <a:close/>
                  <a:moveTo>
                    <a:pt x="36204" y="1"/>
                  </a:moveTo>
                  <a:cubicBezTo>
                    <a:pt x="27469" y="1"/>
                    <a:pt x="18887" y="3413"/>
                    <a:pt x="12470" y="9830"/>
                  </a:cubicBezTo>
                  <a:cubicBezTo>
                    <a:pt x="2878" y="19462"/>
                    <a:pt x="0" y="33890"/>
                    <a:pt x="5196" y="46400"/>
                  </a:cubicBezTo>
                  <a:cubicBezTo>
                    <a:pt x="10392" y="58950"/>
                    <a:pt x="22622" y="67143"/>
                    <a:pt x="36171" y="67143"/>
                  </a:cubicBezTo>
                  <a:cubicBezTo>
                    <a:pt x="54716" y="67103"/>
                    <a:pt x="69744" y="52116"/>
                    <a:pt x="69744" y="33571"/>
                  </a:cubicBezTo>
                  <a:cubicBezTo>
                    <a:pt x="69744" y="20022"/>
                    <a:pt x="61550" y="7752"/>
                    <a:pt x="49040" y="2556"/>
                  </a:cubicBezTo>
                  <a:cubicBezTo>
                    <a:pt x="44886" y="836"/>
                    <a:pt x="40527" y="1"/>
                    <a:pt x="3620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459;p36">
              <a:extLst>
                <a:ext uri="{FF2B5EF4-FFF2-40B4-BE49-F238E27FC236}">
                  <a16:creationId xmlns:a16="http://schemas.microsoft.com/office/drawing/2014/main" id="{387E3122-2FBB-459E-8312-6A67C6D8FA41}"/>
                </a:ext>
              </a:extLst>
            </p:cNvPr>
            <p:cNvSpPr/>
            <p:nvPr/>
          </p:nvSpPr>
          <p:spPr>
            <a:xfrm>
              <a:off x="4992255" y="3107927"/>
              <a:ext cx="1298790" cy="1249794"/>
            </a:xfrm>
            <a:custGeom>
              <a:avLst/>
              <a:gdLst/>
              <a:ahLst/>
              <a:cxnLst/>
              <a:rect l="l" t="t" r="r" b="b"/>
              <a:pathLst>
                <a:path w="77378" h="74459" extrusionOk="0">
                  <a:moveTo>
                    <a:pt x="40128" y="5394"/>
                  </a:moveTo>
                  <a:cubicBezTo>
                    <a:pt x="57714" y="5434"/>
                    <a:pt x="71942" y="19663"/>
                    <a:pt x="71942" y="37209"/>
                  </a:cubicBezTo>
                  <a:cubicBezTo>
                    <a:pt x="71942" y="50078"/>
                    <a:pt x="64188" y="61669"/>
                    <a:pt x="52318" y="66625"/>
                  </a:cubicBezTo>
                  <a:cubicBezTo>
                    <a:pt x="48377" y="68251"/>
                    <a:pt x="44244" y="69042"/>
                    <a:pt x="40147" y="69042"/>
                  </a:cubicBezTo>
                  <a:cubicBezTo>
                    <a:pt x="31861" y="69042"/>
                    <a:pt x="23724" y="65808"/>
                    <a:pt x="17626" y="59710"/>
                  </a:cubicBezTo>
                  <a:cubicBezTo>
                    <a:pt x="8554" y="50598"/>
                    <a:pt x="5836" y="36929"/>
                    <a:pt x="10752" y="25059"/>
                  </a:cubicBezTo>
                  <a:cubicBezTo>
                    <a:pt x="15668" y="13148"/>
                    <a:pt x="27258" y="5394"/>
                    <a:pt x="40128" y="5394"/>
                  </a:cubicBezTo>
                  <a:close/>
                  <a:moveTo>
                    <a:pt x="40140" y="0"/>
                  </a:moveTo>
                  <a:cubicBezTo>
                    <a:pt x="30455" y="0"/>
                    <a:pt x="20936" y="3776"/>
                    <a:pt x="13829" y="10910"/>
                  </a:cubicBezTo>
                  <a:cubicBezTo>
                    <a:pt x="3158" y="21541"/>
                    <a:pt x="1" y="37568"/>
                    <a:pt x="5756" y="51477"/>
                  </a:cubicBezTo>
                  <a:cubicBezTo>
                    <a:pt x="11511" y="65386"/>
                    <a:pt x="25100" y="74458"/>
                    <a:pt x="40128" y="74458"/>
                  </a:cubicBezTo>
                  <a:cubicBezTo>
                    <a:pt x="60711" y="74418"/>
                    <a:pt x="77338" y="57752"/>
                    <a:pt x="77378" y="37209"/>
                  </a:cubicBezTo>
                  <a:cubicBezTo>
                    <a:pt x="77378" y="22141"/>
                    <a:pt x="68305" y="8592"/>
                    <a:pt x="54396" y="2837"/>
                  </a:cubicBezTo>
                  <a:cubicBezTo>
                    <a:pt x="49786" y="929"/>
                    <a:pt x="44942" y="0"/>
                    <a:pt x="40140" y="0"/>
                  </a:cubicBezTo>
                  <a:close/>
                </a:path>
              </a:pathLst>
            </a:custGeom>
            <a:solidFill>
              <a:srgbClr val="20124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" name="Google Shape;460;p36">
              <a:extLst>
                <a:ext uri="{FF2B5EF4-FFF2-40B4-BE49-F238E27FC236}">
                  <a16:creationId xmlns:a16="http://schemas.microsoft.com/office/drawing/2014/main" id="{7B8402C5-6933-446D-AE63-FB75A6D72251}"/>
                </a:ext>
              </a:extLst>
            </p:cNvPr>
            <p:cNvSpPr/>
            <p:nvPr/>
          </p:nvSpPr>
          <p:spPr>
            <a:xfrm>
              <a:off x="6965795" y="3168988"/>
              <a:ext cx="1170670" cy="1127012"/>
            </a:xfrm>
            <a:custGeom>
              <a:avLst/>
              <a:gdLst/>
              <a:ahLst/>
              <a:cxnLst/>
              <a:rect l="l" t="t" r="r" b="b"/>
              <a:pathLst>
                <a:path w="69745" h="67144" extrusionOk="0">
                  <a:moveTo>
                    <a:pt x="36211" y="4914"/>
                  </a:moveTo>
                  <a:cubicBezTo>
                    <a:pt x="52039" y="4914"/>
                    <a:pt x="64828" y="17744"/>
                    <a:pt x="64868" y="33571"/>
                  </a:cubicBezTo>
                  <a:cubicBezTo>
                    <a:pt x="64868" y="45161"/>
                    <a:pt x="57874" y="55633"/>
                    <a:pt x="47163" y="60069"/>
                  </a:cubicBezTo>
                  <a:cubicBezTo>
                    <a:pt x="43610" y="61540"/>
                    <a:pt x="39878" y="62256"/>
                    <a:pt x="36177" y="62256"/>
                  </a:cubicBezTo>
                  <a:cubicBezTo>
                    <a:pt x="28717" y="62256"/>
                    <a:pt x="21384" y="59350"/>
                    <a:pt x="15908" y="53874"/>
                  </a:cubicBezTo>
                  <a:cubicBezTo>
                    <a:pt x="7715" y="45641"/>
                    <a:pt x="5237" y="33331"/>
                    <a:pt x="9713" y="22620"/>
                  </a:cubicBezTo>
                  <a:cubicBezTo>
                    <a:pt x="14149" y="11868"/>
                    <a:pt x="24581" y="4914"/>
                    <a:pt x="36211" y="4914"/>
                  </a:cubicBezTo>
                  <a:close/>
                  <a:moveTo>
                    <a:pt x="36205" y="1"/>
                  </a:moveTo>
                  <a:cubicBezTo>
                    <a:pt x="27469" y="1"/>
                    <a:pt x="18888" y="3413"/>
                    <a:pt x="12471" y="9830"/>
                  </a:cubicBezTo>
                  <a:cubicBezTo>
                    <a:pt x="2879" y="19462"/>
                    <a:pt x="1" y="33890"/>
                    <a:pt x="5197" y="46440"/>
                  </a:cubicBezTo>
                  <a:cubicBezTo>
                    <a:pt x="10392" y="58950"/>
                    <a:pt x="22622" y="67143"/>
                    <a:pt x="36211" y="67143"/>
                  </a:cubicBezTo>
                  <a:cubicBezTo>
                    <a:pt x="54716" y="67103"/>
                    <a:pt x="69744" y="52116"/>
                    <a:pt x="69744" y="33571"/>
                  </a:cubicBezTo>
                  <a:cubicBezTo>
                    <a:pt x="69744" y="20022"/>
                    <a:pt x="61551" y="7752"/>
                    <a:pt x="49041" y="2556"/>
                  </a:cubicBezTo>
                  <a:cubicBezTo>
                    <a:pt x="44887" y="836"/>
                    <a:pt x="40527" y="1"/>
                    <a:pt x="3620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" name="Google Shape;461;p36">
              <a:extLst>
                <a:ext uri="{FF2B5EF4-FFF2-40B4-BE49-F238E27FC236}">
                  <a16:creationId xmlns:a16="http://schemas.microsoft.com/office/drawing/2014/main" id="{D2A1AD86-8C78-4DEF-B5AB-5B4095BD52E5}"/>
                </a:ext>
              </a:extLst>
            </p:cNvPr>
            <p:cNvSpPr/>
            <p:nvPr/>
          </p:nvSpPr>
          <p:spPr>
            <a:xfrm>
              <a:off x="6899398" y="3107927"/>
              <a:ext cx="1298790" cy="1249794"/>
            </a:xfrm>
            <a:custGeom>
              <a:avLst/>
              <a:gdLst/>
              <a:ahLst/>
              <a:cxnLst/>
              <a:rect l="l" t="t" r="r" b="b"/>
              <a:pathLst>
                <a:path w="77378" h="74459" extrusionOk="0">
                  <a:moveTo>
                    <a:pt x="40167" y="5394"/>
                  </a:moveTo>
                  <a:cubicBezTo>
                    <a:pt x="57713" y="5434"/>
                    <a:pt x="71942" y="19663"/>
                    <a:pt x="71942" y="37209"/>
                  </a:cubicBezTo>
                  <a:cubicBezTo>
                    <a:pt x="71942" y="50078"/>
                    <a:pt x="64228" y="61669"/>
                    <a:pt x="52318" y="66625"/>
                  </a:cubicBezTo>
                  <a:cubicBezTo>
                    <a:pt x="48390" y="68251"/>
                    <a:pt x="44261" y="69042"/>
                    <a:pt x="40165" y="69042"/>
                  </a:cubicBezTo>
                  <a:cubicBezTo>
                    <a:pt x="31883" y="69042"/>
                    <a:pt x="23736" y="65808"/>
                    <a:pt x="17666" y="59710"/>
                  </a:cubicBezTo>
                  <a:cubicBezTo>
                    <a:pt x="8553" y="50598"/>
                    <a:pt x="5835" y="36929"/>
                    <a:pt x="10751" y="25059"/>
                  </a:cubicBezTo>
                  <a:cubicBezTo>
                    <a:pt x="15667" y="13148"/>
                    <a:pt x="27298" y="5394"/>
                    <a:pt x="40167" y="5394"/>
                  </a:cubicBezTo>
                  <a:close/>
                  <a:moveTo>
                    <a:pt x="40139" y="0"/>
                  </a:moveTo>
                  <a:cubicBezTo>
                    <a:pt x="30454" y="0"/>
                    <a:pt x="20936" y="3776"/>
                    <a:pt x="13829" y="10910"/>
                  </a:cubicBezTo>
                  <a:cubicBezTo>
                    <a:pt x="3198" y="21541"/>
                    <a:pt x="0" y="37568"/>
                    <a:pt x="5755" y="51477"/>
                  </a:cubicBezTo>
                  <a:cubicBezTo>
                    <a:pt x="11511" y="65386"/>
                    <a:pt x="25100" y="74458"/>
                    <a:pt x="40167" y="74458"/>
                  </a:cubicBezTo>
                  <a:cubicBezTo>
                    <a:pt x="60711" y="74418"/>
                    <a:pt x="77337" y="57752"/>
                    <a:pt x="77377" y="37209"/>
                  </a:cubicBezTo>
                  <a:cubicBezTo>
                    <a:pt x="77377" y="22141"/>
                    <a:pt x="68305" y="8592"/>
                    <a:pt x="54396" y="2837"/>
                  </a:cubicBezTo>
                  <a:cubicBezTo>
                    <a:pt x="49785" y="929"/>
                    <a:pt x="44942" y="0"/>
                    <a:pt x="40139" y="0"/>
                  </a:cubicBezTo>
                  <a:close/>
                </a:path>
              </a:pathLst>
            </a:custGeom>
            <a:solidFill>
              <a:srgbClr val="20124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" name="Google Shape;462;p36">
              <a:extLst>
                <a:ext uri="{FF2B5EF4-FFF2-40B4-BE49-F238E27FC236}">
                  <a16:creationId xmlns:a16="http://schemas.microsoft.com/office/drawing/2014/main" id="{D0794E29-34D7-4525-BB39-271DD6411CFB}"/>
                </a:ext>
              </a:extLst>
            </p:cNvPr>
            <p:cNvSpPr/>
            <p:nvPr/>
          </p:nvSpPr>
          <p:spPr>
            <a:xfrm>
              <a:off x="6476103" y="3011972"/>
              <a:ext cx="764792" cy="741981"/>
            </a:xfrm>
            <a:custGeom>
              <a:avLst/>
              <a:gdLst/>
              <a:ahLst/>
              <a:cxnLst/>
              <a:rect l="l" t="t" r="r" b="b"/>
              <a:pathLst>
                <a:path w="45564" h="44205" extrusionOk="0">
                  <a:moveTo>
                    <a:pt x="40488" y="1"/>
                  </a:moveTo>
                  <a:lnTo>
                    <a:pt x="1" y="38969"/>
                  </a:lnTo>
                  <a:lnTo>
                    <a:pt x="5037" y="44205"/>
                  </a:lnTo>
                  <a:lnTo>
                    <a:pt x="45564" y="5276"/>
                  </a:lnTo>
                  <a:lnTo>
                    <a:pt x="40488" y="1"/>
                  </a:lnTo>
                  <a:close/>
                </a:path>
              </a:pathLst>
            </a:custGeom>
            <a:solidFill>
              <a:srgbClr val="F6B26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463;p36">
              <a:extLst>
                <a:ext uri="{FF2B5EF4-FFF2-40B4-BE49-F238E27FC236}">
                  <a16:creationId xmlns:a16="http://schemas.microsoft.com/office/drawing/2014/main" id="{40372087-F2CE-431A-A1BF-032EC1205CE6}"/>
                </a:ext>
              </a:extLst>
            </p:cNvPr>
            <p:cNvSpPr/>
            <p:nvPr/>
          </p:nvSpPr>
          <p:spPr>
            <a:xfrm>
              <a:off x="7100639" y="3012643"/>
              <a:ext cx="140222" cy="156990"/>
            </a:xfrm>
            <a:custGeom>
              <a:avLst/>
              <a:gdLst/>
              <a:ahLst/>
              <a:cxnLst/>
              <a:rect l="l" t="t" r="r" b="b"/>
              <a:pathLst>
                <a:path w="8354" h="9353" extrusionOk="0">
                  <a:moveTo>
                    <a:pt x="3278" y="0"/>
                  </a:moveTo>
                  <a:lnTo>
                    <a:pt x="0" y="3118"/>
                  </a:lnTo>
                  <a:lnTo>
                    <a:pt x="4077" y="9353"/>
                  </a:lnTo>
                  <a:lnTo>
                    <a:pt x="8354" y="5236"/>
                  </a:lnTo>
                  <a:lnTo>
                    <a:pt x="3278" y="0"/>
                  </a:lnTo>
                  <a:close/>
                </a:path>
              </a:pathLst>
            </a:custGeom>
            <a:solidFill>
              <a:srgbClr val="D492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" name="Google Shape;464;p36">
              <a:extLst>
                <a:ext uri="{FF2B5EF4-FFF2-40B4-BE49-F238E27FC236}">
                  <a16:creationId xmlns:a16="http://schemas.microsoft.com/office/drawing/2014/main" id="{35C82152-7F70-45FE-B681-E939E015336F}"/>
                </a:ext>
              </a:extLst>
            </p:cNvPr>
            <p:cNvSpPr/>
            <p:nvPr/>
          </p:nvSpPr>
          <p:spPr>
            <a:xfrm>
              <a:off x="6963781" y="2585887"/>
              <a:ext cx="151636" cy="309398"/>
            </a:xfrm>
            <a:custGeom>
              <a:avLst/>
              <a:gdLst/>
              <a:ahLst/>
              <a:cxnLst/>
              <a:rect l="l" t="t" r="r" b="b"/>
              <a:pathLst>
                <a:path w="9034" h="18433" extrusionOk="0">
                  <a:moveTo>
                    <a:pt x="5458" y="0"/>
                  </a:moveTo>
                  <a:cubicBezTo>
                    <a:pt x="5149" y="0"/>
                    <a:pt x="4825" y="109"/>
                    <a:pt x="4517" y="367"/>
                  </a:cubicBezTo>
                  <a:lnTo>
                    <a:pt x="1919" y="2645"/>
                  </a:lnTo>
                  <a:cubicBezTo>
                    <a:pt x="441" y="3924"/>
                    <a:pt x="1" y="6042"/>
                    <a:pt x="840" y="7801"/>
                  </a:cubicBezTo>
                  <a:lnTo>
                    <a:pt x="6076" y="17673"/>
                  </a:lnTo>
                  <a:cubicBezTo>
                    <a:pt x="6316" y="18112"/>
                    <a:pt x="6835" y="18432"/>
                    <a:pt x="7355" y="18432"/>
                  </a:cubicBezTo>
                  <a:cubicBezTo>
                    <a:pt x="7595" y="18432"/>
                    <a:pt x="7835" y="18352"/>
                    <a:pt x="8074" y="18272"/>
                  </a:cubicBezTo>
                  <a:cubicBezTo>
                    <a:pt x="8754" y="17873"/>
                    <a:pt x="9034" y="16993"/>
                    <a:pt x="8674" y="16274"/>
                  </a:cubicBezTo>
                  <a:lnTo>
                    <a:pt x="3438" y="6522"/>
                  </a:lnTo>
                  <a:cubicBezTo>
                    <a:pt x="3198" y="5922"/>
                    <a:pt x="3318" y="5243"/>
                    <a:pt x="3798" y="4843"/>
                  </a:cubicBezTo>
                  <a:lnTo>
                    <a:pt x="6436" y="2565"/>
                  </a:lnTo>
                  <a:cubicBezTo>
                    <a:pt x="7575" y="1584"/>
                    <a:pt x="6634" y="0"/>
                    <a:pt x="5458" y="0"/>
                  </a:cubicBezTo>
                  <a:close/>
                </a:path>
              </a:pathLst>
            </a:custGeom>
            <a:solidFill>
              <a:srgbClr val="20124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" name="Google Shape;465;p36">
              <a:extLst>
                <a:ext uri="{FF2B5EF4-FFF2-40B4-BE49-F238E27FC236}">
                  <a16:creationId xmlns:a16="http://schemas.microsoft.com/office/drawing/2014/main" id="{34273605-ADEE-4A71-A029-B47125D9E98C}"/>
                </a:ext>
              </a:extLst>
            </p:cNvPr>
            <p:cNvSpPr/>
            <p:nvPr/>
          </p:nvSpPr>
          <p:spPr>
            <a:xfrm>
              <a:off x="7034895" y="2819440"/>
              <a:ext cx="570237" cy="931165"/>
            </a:xfrm>
            <a:custGeom>
              <a:avLst/>
              <a:gdLst/>
              <a:ahLst/>
              <a:cxnLst/>
              <a:rect l="l" t="t" r="r" b="b"/>
              <a:pathLst>
                <a:path w="33973" h="55476" extrusionOk="0">
                  <a:moveTo>
                    <a:pt x="3797" y="1"/>
                  </a:moveTo>
                  <a:lnTo>
                    <a:pt x="1" y="2159"/>
                  </a:lnTo>
                  <a:lnTo>
                    <a:pt x="30176" y="55476"/>
                  </a:lnTo>
                  <a:lnTo>
                    <a:pt x="33973" y="53358"/>
                  </a:lnTo>
                  <a:lnTo>
                    <a:pt x="3797" y="1"/>
                  </a:lnTo>
                  <a:close/>
                </a:path>
              </a:pathLst>
            </a:custGeom>
            <a:solidFill>
              <a:srgbClr val="F6B26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466;p36">
              <a:extLst>
                <a:ext uri="{FF2B5EF4-FFF2-40B4-BE49-F238E27FC236}">
                  <a16:creationId xmlns:a16="http://schemas.microsoft.com/office/drawing/2014/main" id="{6BE46119-C204-4689-9B1A-75DEC77EF031}"/>
                </a:ext>
              </a:extLst>
            </p:cNvPr>
            <p:cNvSpPr/>
            <p:nvPr/>
          </p:nvSpPr>
          <p:spPr>
            <a:xfrm>
              <a:off x="7423296" y="3620265"/>
              <a:ext cx="262316" cy="224231"/>
            </a:xfrm>
            <a:custGeom>
              <a:avLst/>
              <a:gdLst/>
              <a:ahLst/>
              <a:cxnLst/>
              <a:rect l="l" t="t" r="r" b="b"/>
              <a:pathLst>
                <a:path w="15628" h="13359" extrusionOk="0">
                  <a:moveTo>
                    <a:pt x="8897" y="0"/>
                  </a:moveTo>
                  <a:cubicBezTo>
                    <a:pt x="7250" y="0"/>
                    <a:pt x="5569" y="609"/>
                    <a:pt x="4197" y="1968"/>
                  </a:cubicBezTo>
                  <a:cubicBezTo>
                    <a:pt x="1" y="6164"/>
                    <a:pt x="2998" y="13358"/>
                    <a:pt x="8953" y="13358"/>
                  </a:cubicBezTo>
                  <a:cubicBezTo>
                    <a:pt x="12630" y="13358"/>
                    <a:pt x="15588" y="10361"/>
                    <a:pt x="15628" y="6684"/>
                  </a:cubicBezTo>
                  <a:cubicBezTo>
                    <a:pt x="15628" y="2656"/>
                    <a:pt x="12338" y="0"/>
                    <a:pt x="8897" y="0"/>
                  </a:cubicBezTo>
                  <a:close/>
                </a:path>
              </a:pathLst>
            </a:custGeom>
            <a:solidFill>
              <a:srgbClr val="20124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467;p36">
              <a:extLst>
                <a:ext uri="{FF2B5EF4-FFF2-40B4-BE49-F238E27FC236}">
                  <a16:creationId xmlns:a16="http://schemas.microsoft.com/office/drawing/2014/main" id="{66D30331-6DC9-47DF-9157-AAF9D26E808B}"/>
                </a:ext>
              </a:extLst>
            </p:cNvPr>
            <p:cNvSpPr/>
            <p:nvPr/>
          </p:nvSpPr>
          <p:spPr>
            <a:xfrm>
              <a:off x="5659053" y="2984362"/>
              <a:ext cx="764120" cy="773621"/>
            </a:xfrm>
            <a:custGeom>
              <a:avLst/>
              <a:gdLst/>
              <a:ahLst/>
              <a:cxnLst/>
              <a:rect l="l" t="t" r="r" b="b"/>
              <a:pathLst>
                <a:path w="45524" h="46090" extrusionOk="0">
                  <a:moveTo>
                    <a:pt x="32190" y="0"/>
                  </a:moveTo>
                  <a:cubicBezTo>
                    <a:pt x="31779" y="0"/>
                    <a:pt x="31363" y="190"/>
                    <a:pt x="31055" y="646"/>
                  </a:cubicBezTo>
                  <a:lnTo>
                    <a:pt x="680" y="43771"/>
                  </a:lnTo>
                  <a:cubicBezTo>
                    <a:pt x="0" y="44731"/>
                    <a:pt x="680" y="46089"/>
                    <a:pt x="1879" y="46089"/>
                  </a:cubicBezTo>
                  <a:lnTo>
                    <a:pt x="43685" y="46089"/>
                  </a:lnTo>
                  <a:cubicBezTo>
                    <a:pt x="45523" y="45970"/>
                    <a:pt x="45523" y="43252"/>
                    <a:pt x="43685" y="43172"/>
                  </a:cubicBezTo>
                  <a:lnTo>
                    <a:pt x="4676" y="43172"/>
                  </a:lnTo>
                  <a:lnTo>
                    <a:pt x="33413" y="2325"/>
                  </a:lnTo>
                  <a:cubicBezTo>
                    <a:pt x="34212" y="1183"/>
                    <a:pt x="33217" y="0"/>
                    <a:pt x="32190" y="0"/>
                  </a:cubicBezTo>
                  <a:close/>
                </a:path>
              </a:pathLst>
            </a:custGeom>
            <a:solidFill>
              <a:srgbClr val="F6B26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" name="Google Shape;468;p36">
              <a:extLst>
                <a:ext uri="{FF2B5EF4-FFF2-40B4-BE49-F238E27FC236}">
                  <a16:creationId xmlns:a16="http://schemas.microsoft.com/office/drawing/2014/main" id="{4C1E3893-80A8-400A-A4CB-BF03013D4004}"/>
                </a:ext>
              </a:extLst>
            </p:cNvPr>
            <p:cNvSpPr/>
            <p:nvPr/>
          </p:nvSpPr>
          <p:spPr>
            <a:xfrm>
              <a:off x="6001969" y="2662759"/>
              <a:ext cx="188395" cy="295584"/>
            </a:xfrm>
            <a:custGeom>
              <a:avLst/>
              <a:gdLst/>
              <a:ahLst/>
              <a:cxnLst/>
              <a:rect l="l" t="t" r="r" b="b"/>
              <a:pathLst>
                <a:path w="11224" h="17610" extrusionOk="0">
                  <a:moveTo>
                    <a:pt x="1869" y="1"/>
                  </a:moveTo>
                  <a:cubicBezTo>
                    <a:pt x="921" y="1"/>
                    <a:pt x="1" y="932"/>
                    <a:pt x="512" y="2062"/>
                  </a:cubicBezTo>
                  <a:lnTo>
                    <a:pt x="8146" y="16810"/>
                  </a:lnTo>
                  <a:cubicBezTo>
                    <a:pt x="8386" y="17289"/>
                    <a:pt x="8905" y="17609"/>
                    <a:pt x="9425" y="17609"/>
                  </a:cubicBezTo>
                  <a:cubicBezTo>
                    <a:pt x="10544" y="17609"/>
                    <a:pt x="11223" y="16450"/>
                    <a:pt x="10744" y="15451"/>
                  </a:cubicBezTo>
                  <a:lnTo>
                    <a:pt x="3110" y="743"/>
                  </a:lnTo>
                  <a:cubicBezTo>
                    <a:pt x="2797" y="220"/>
                    <a:pt x="2329" y="1"/>
                    <a:pt x="1869" y="1"/>
                  </a:cubicBezTo>
                  <a:close/>
                </a:path>
              </a:pathLst>
            </a:custGeom>
            <a:solidFill>
              <a:srgbClr val="20124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" name="Google Shape;469;p36">
              <a:extLst>
                <a:ext uri="{FF2B5EF4-FFF2-40B4-BE49-F238E27FC236}">
                  <a16:creationId xmlns:a16="http://schemas.microsoft.com/office/drawing/2014/main" id="{5981F580-CF47-47D1-89AF-AE856A8B2191}"/>
                </a:ext>
              </a:extLst>
            </p:cNvPr>
            <p:cNvSpPr/>
            <p:nvPr/>
          </p:nvSpPr>
          <p:spPr>
            <a:xfrm>
              <a:off x="5777784" y="2645706"/>
              <a:ext cx="474982" cy="120097"/>
            </a:xfrm>
            <a:custGeom>
              <a:avLst/>
              <a:gdLst/>
              <a:ahLst/>
              <a:cxnLst/>
              <a:rect l="l" t="t" r="r" b="b"/>
              <a:pathLst>
                <a:path w="28298" h="7155" extrusionOk="0">
                  <a:moveTo>
                    <a:pt x="3598" y="0"/>
                  </a:moveTo>
                  <a:cubicBezTo>
                    <a:pt x="1639" y="0"/>
                    <a:pt x="0" y="1599"/>
                    <a:pt x="40" y="3597"/>
                  </a:cubicBezTo>
                  <a:cubicBezTo>
                    <a:pt x="40" y="5556"/>
                    <a:pt x="1639" y="7154"/>
                    <a:pt x="3598" y="7154"/>
                  </a:cubicBezTo>
                  <a:lnTo>
                    <a:pt x="24700" y="7154"/>
                  </a:lnTo>
                  <a:cubicBezTo>
                    <a:pt x="26699" y="7154"/>
                    <a:pt x="28297" y="5556"/>
                    <a:pt x="28297" y="3597"/>
                  </a:cubicBezTo>
                  <a:cubicBezTo>
                    <a:pt x="28297" y="1599"/>
                    <a:pt x="26699" y="0"/>
                    <a:pt x="24700" y="0"/>
                  </a:cubicBezTo>
                  <a:close/>
                </a:path>
              </a:pathLst>
            </a:custGeom>
            <a:solidFill>
              <a:srgbClr val="20124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470;p36">
              <a:extLst>
                <a:ext uri="{FF2B5EF4-FFF2-40B4-BE49-F238E27FC236}">
                  <a16:creationId xmlns:a16="http://schemas.microsoft.com/office/drawing/2014/main" id="{E7AFA9C4-B06E-4DF8-B8E8-B06DBE3EBBC3}"/>
                </a:ext>
              </a:extLst>
            </p:cNvPr>
            <p:cNvSpPr/>
            <p:nvPr/>
          </p:nvSpPr>
          <p:spPr>
            <a:xfrm>
              <a:off x="6114540" y="2891897"/>
              <a:ext cx="436729" cy="741981"/>
            </a:xfrm>
            <a:custGeom>
              <a:avLst/>
              <a:gdLst/>
              <a:ahLst/>
              <a:cxnLst/>
              <a:rect l="l" t="t" r="r" b="b"/>
              <a:pathLst>
                <a:path w="26019" h="44205" extrusionOk="0">
                  <a:moveTo>
                    <a:pt x="3877" y="0"/>
                  </a:moveTo>
                  <a:lnTo>
                    <a:pt x="0" y="2039"/>
                  </a:lnTo>
                  <a:lnTo>
                    <a:pt x="22142" y="44204"/>
                  </a:lnTo>
                  <a:lnTo>
                    <a:pt x="26019" y="42166"/>
                  </a:lnTo>
                  <a:lnTo>
                    <a:pt x="3877" y="0"/>
                  </a:lnTo>
                  <a:close/>
                </a:path>
              </a:pathLst>
            </a:custGeom>
            <a:solidFill>
              <a:srgbClr val="F6B26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" name="Google Shape;471;p36">
              <a:extLst>
                <a:ext uri="{FF2B5EF4-FFF2-40B4-BE49-F238E27FC236}">
                  <a16:creationId xmlns:a16="http://schemas.microsoft.com/office/drawing/2014/main" id="{1DF8264D-0380-49D2-9F28-8C74EA45237E}"/>
                </a:ext>
              </a:extLst>
            </p:cNvPr>
            <p:cNvSpPr/>
            <p:nvPr/>
          </p:nvSpPr>
          <p:spPr>
            <a:xfrm>
              <a:off x="5516171" y="3620265"/>
              <a:ext cx="262316" cy="224231"/>
            </a:xfrm>
            <a:custGeom>
              <a:avLst/>
              <a:gdLst/>
              <a:ahLst/>
              <a:cxnLst/>
              <a:rect l="l" t="t" r="r" b="b"/>
              <a:pathLst>
                <a:path w="15628" h="13359" extrusionOk="0">
                  <a:moveTo>
                    <a:pt x="8888" y="0"/>
                  </a:moveTo>
                  <a:cubicBezTo>
                    <a:pt x="7246" y="0"/>
                    <a:pt x="5568" y="609"/>
                    <a:pt x="4197" y="1968"/>
                  </a:cubicBezTo>
                  <a:cubicBezTo>
                    <a:pt x="0" y="6164"/>
                    <a:pt x="2998" y="13358"/>
                    <a:pt x="8913" y="13358"/>
                  </a:cubicBezTo>
                  <a:cubicBezTo>
                    <a:pt x="12630" y="13358"/>
                    <a:pt x="15587" y="10361"/>
                    <a:pt x="15627" y="6684"/>
                  </a:cubicBezTo>
                  <a:cubicBezTo>
                    <a:pt x="15600" y="2656"/>
                    <a:pt x="12320" y="0"/>
                    <a:pt x="8888" y="0"/>
                  </a:cubicBezTo>
                  <a:close/>
                </a:path>
              </a:pathLst>
            </a:custGeom>
            <a:solidFill>
              <a:srgbClr val="20124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" name="Google Shape;472;p36">
              <a:extLst>
                <a:ext uri="{FF2B5EF4-FFF2-40B4-BE49-F238E27FC236}">
                  <a16:creationId xmlns:a16="http://schemas.microsoft.com/office/drawing/2014/main" id="{5DB6A9DB-E736-4663-B37E-F65674AFD632}"/>
                </a:ext>
              </a:extLst>
            </p:cNvPr>
            <p:cNvSpPr/>
            <p:nvPr/>
          </p:nvSpPr>
          <p:spPr>
            <a:xfrm>
              <a:off x="6349987" y="3486076"/>
              <a:ext cx="493093" cy="447857"/>
            </a:xfrm>
            <a:custGeom>
              <a:avLst/>
              <a:gdLst/>
              <a:ahLst/>
              <a:cxnLst/>
              <a:rect l="l" t="t" r="r" b="b"/>
              <a:pathLst>
                <a:path w="29377" h="26682" extrusionOk="0">
                  <a:moveTo>
                    <a:pt x="14663" y="0"/>
                  </a:moveTo>
                  <a:cubicBezTo>
                    <a:pt x="8615" y="0"/>
                    <a:pt x="3154" y="4129"/>
                    <a:pt x="1719" y="10242"/>
                  </a:cubicBezTo>
                  <a:cubicBezTo>
                    <a:pt x="1" y="17396"/>
                    <a:pt x="4397" y="24591"/>
                    <a:pt x="11591" y="26309"/>
                  </a:cubicBezTo>
                  <a:cubicBezTo>
                    <a:pt x="12638" y="26561"/>
                    <a:pt x="13686" y="26681"/>
                    <a:pt x="14717" y="26681"/>
                  </a:cubicBezTo>
                  <a:cubicBezTo>
                    <a:pt x="20734" y="26681"/>
                    <a:pt x="26191" y="22579"/>
                    <a:pt x="27658" y="16437"/>
                  </a:cubicBezTo>
                  <a:cubicBezTo>
                    <a:pt x="29377" y="9283"/>
                    <a:pt x="24940" y="2089"/>
                    <a:pt x="17786" y="370"/>
                  </a:cubicBezTo>
                  <a:cubicBezTo>
                    <a:pt x="16739" y="120"/>
                    <a:pt x="15692" y="0"/>
                    <a:pt x="14663" y="0"/>
                  </a:cubicBezTo>
                  <a:close/>
                </a:path>
              </a:pathLst>
            </a:custGeom>
            <a:solidFill>
              <a:srgbClr val="2120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" name="Google Shape;473;p36">
              <a:extLst>
                <a:ext uri="{FF2B5EF4-FFF2-40B4-BE49-F238E27FC236}">
                  <a16:creationId xmlns:a16="http://schemas.microsoft.com/office/drawing/2014/main" id="{2D12587D-932F-4074-B207-2B445ACF0717}"/>
                </a:ext>
              </a:extLst>
            </p:cNvPr>
            <p:cNvSpPr/>
            <p:nvPr/>
          </p:nvSpPr>
          <p:spPr>
            <a:xfrm>
              <a:off x="6406348" y="3538593"/>
              <a:ext cx="380382" cy="342817"/>
            </a:xfrm>
            <a:custGeom>
              <a:avLst/>
              <a:gdLst/>
              <a:ahLst/>
              <a:cxnLst/>
              <a:rect l="l" t="t" r="r" b="b"/>
              <a:pathLst>
                <a:path w="22662" h="20424" extrusionOk="0">
                  <a:moveTo>
                    <a:pt x="11318" y="1"/>
                  </a:moveTo>
                  <a:cubicBezTo>
                    <a:pt x="6818" y="1"/>
                    <a:pt x="2682" y="3009"/>
                    <a:pt x="1479" y="7553"/>
                  </a:cubicBezTo>
                  <a:cubicBezTo>
                    <a:pt x="0" y="12989"/>
                    <a:pt x="3197" y="18624"/>
                    <a:pt x="8633" y="20063"/>
                  </a:cubicBezTo>
                  <a:cubicBezTo>
                    <a:pt x="9538" y="20307"/>
                    <a:pt x="10446" y="20424"/>
                    <a:pt x="11338" y="20424"/>
                  </a:cubicBezTo>
                  <a:cubicBezTo>
                    <a:pt x="15845" y="20424"/>
                    <a:pt x="19948" y="17446"/>
                    <a:pt x="21183" y="12909"/>
                  </a:cubicBezTo>
                  <a:cubicBezTo>
                    <a:pt x="22662" y="7433"/>
                    <a:pt x="19424" y="1838"/>
                    <a:pt x="13989" y="359"/>
                  </a:cubicBezTo>
                  <a:cubicBezTo>
                    <a:pt x="13097" y="116"/>
                    <a:pt x="12201" y="1"/>
                    <a:pt x="11318" y="1"/>
                  </a:cubicBezTo>
                  <a:close/>
                </a:path>
              </a:pathLst>
            </a:custGeom>
            <a:solidFill>
              <a:srgbClr val="20124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" name="Google Shape;474;p36">
              <a:extLst>
                <a:ext uri="{FF2B5EF4-FFF2-40B4-BE49-F238E27FC236}">
                  <a16:creationId xmlns:a16="http://schemas.microsoft.com/office/drawing/2014/main" id="{67C9C9DE-01AE-42FD-B30B-298C7893E9AE}"/>
                </a:ext>
              </a:extLst>
            </p:cNvPr>
            <p:cNvSpPr/>
            <p:nvPr/>
          </p:nvSpPr>
          <p:spPr>
            <a:xfrm>
              <a:off x="5379984" y="1228916"/>
              <a:ext cx="1151199" cy="1172013"/>
            </a:xfrm>
            <a:custGeom>
              <a:avLst/>
              <a:gdLst/>
              <a:ahLst/>
              <a:cxnLst/>
              <a:rect l="l" t="t" r="r" b="b"/>
              <a:pathLst>
                <a:path w="68585" h="69825" extrusionOk="0">
                  <a:moveTo>
                    <a:pt x="37570" y="1"/>
                  </a:moveTo>
                  <a:cubicBezTo>
                    <a:pt x="36651" y="121"/>
                    <a:pt x="35812" y="520"/>
                    <a:pt x="35212" y="1200"/>
                  </a:cubicBezTo>
                  <a:lnTo>
                    <a:pt x="1520" y="36411"/>
                  </a:lnTo>
                  <a:cubicBezTo>
                    <a:pt x="1" y="38010"/>
                    <a:pt x="41" y="40528"/>
                    <a:pt x="1639" y="42047"/>
                  </a:cubicBezTo>
                  <a:lnTo>
                    <a:pt x="30656" y="69824"/>
                  </a:lnTo>
                  <a:lnTo>
                    <a:pt x="68585" y="30216"/>
                  </a:lnTo>
                  <a:lnTo>
                    <a:pt x="39808" y="2639"/>
                  </a:lnTo>
                  <a:lnTo>
                    <a:pt x="40927" y="240"/>
                  </a:lnTo>
                  <a:lnTo>
                    <a:pt x="37570" y="1"/>
                  </a:lnTo>
                  <a:close/>
                </a:path>
              </a:pathLst>
            </a:custGeom>
            <a:solidFill>
              <a:srgbClr val="20124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" name="Google Shape;475;p36">
              <a:extLst>
                <a:ext uri="{FF2B5EF4-FFF2-40B4-BE49-F238E27FC236}">
                  <a16:creationId xmlns:a16="http://schemas.microsoft.com/office/drawing/2014/main" id="{247E73E8-66D9-40C4-AE58-66561EC0C653}"/>
                </a:ext>
              </a:extLst>
            </p:cNvPr>
            <p:cNvSpPr/>
            <p:nvPr/>
          </p:nvSpPr>
          <p:spPr>
            <a:xfrm>
              <a:off x="5439685" y="1232172"/>
              <a:ext cx="1145173" cy="1160028"/>
            </a:xfrm>
            <a:custGeom>
              <a:avLst/>
              <a:gdLst/>
              <a:ahLst/>
              <a:cxnLst/>
              <a:rect l="l" t="t" r="r" b="b"/>
              <a:pathLst>
                <a:path w="68226" h="69111" extrusionOk="0">
                  <a:moveTo>
                    <a:pt x="37228" y="1"/>
                  </a:moveTo>
                  <a:cubicBezTo>
                    <a:pt x="36559" y="1"/>
                    <a:pt x="35886" y="271"/>
                    <a:pt x="35372" y="806"/>
                  </a:cubicBezTo>
                  <a:lnTo>
                    <a:pt x="960" y="36777"/>
                  </a:lnTo>
                  <a:cubicBezTo>
                    <a:pt x="1" y="37776"/>
                    <a:pt x="1" y="39375"/>
                    <a:pt x="1040" y="40334"/>
                  </a:cubicBezTo>
                  <a:lnTo>
                    <a:pt x="31096" y="69110"/>
                  </a:lnTo>
                  <a:lnTo>
                    <a:pt x="67266" y="31301"/>
                  </a:lnTo>
                  <a:cubicBezTo>
                    <a:pt x="68225" y="30302"/>
                    <a:pt x="68225" y="28743"/>
                    <a:pt x="67226" y="27744"/>
                  </a:cubicBezTo>
                  <a:lnTo>
                    <a:pt x="38969" y="726"/>
                  </a:lnTo>
                  <a:cubicBezTo>
                    <a:pt x="38484" y="241"/>
                    <a:pt x="37858" y="1"/>
                    <a:pt x="37228" y="1"/>
                  </a:cubicBezTo>
                  <a:close/>
                </a:path>
              </a:pathLst>
            </a:custGeom>
            <a:solidFill>
              <a:srgbClr val="F6B26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" name="Google Shape;476;p36">
              <a:extLst>
                <a:ext uri="{FF2B5EF4-FFF2-40B4-BE49-F238E27FC236}">
                  <a16:creationId xmlns:a16="http://schemas.microsoft.com/office/drawing/2014/main" id="{0A273242-411B-4617-8B00-6D0F8FF89643}"/>
                </a:ext>
              </a:extLst>
            </p:cNvPr>
            <p:cNvSpPr/>
            <p:nvPr/>
          </p:nvSpPr>
          <p:spPr>
            <a:xfrm>
              <a:off x="5798580" y="1108842"/>
              <a:ext cx="888229" cy="933179"/>
            </a:xfrm>
            <a:custGeom>
              <a:avLst/>
              <a:gdLst/>
              <a:ahLst/>
              <a:cxnLst/>
              <a:rect l="l" t="t" r="r" b="b"/>
              <a:pathLst>
                <a:path w="52918" h="55596" extrusionOk="0">
                  <a:moveTo>
                    <a:pt x="19904" y="0"/>
                  </a:moveTo>
                  <a:lnTo>
                    <a:pt x="0" y="14589"/>
                  </a:lnTo>
                  <a:lnTo>
                    <a:pt x="42166" y="55595"/>
                  </a:lnTo>
                  <a:lnTo>
                    <a:pt x="52917" y="30975"/>
                  </a:lnTo>
                  <a:lnTo>
                    <a:pt x="19904" y="0"/>
                  </a:lnTo>
                  <a:close/>
                </a:path>
              </a:pathLst>
            </a:custGeom>
            <a:solidFill>
              <a:srgbClr val="F6B26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" name="Google Shape;477;p36">
              <a:extLst>
                <a:ext uri="{FF2B5EF4-FFF2-40B4-BE49-F238E27FC236}">
                  <a16:creationId xmlns:a16="http://schemas.microsoft.com/office/drawing/2014/main" id="{B815CA95-02EE-43E2-BE17-7C3E79C079CB}"/>
                </a:ext>
              </a:extLst>
            </p:cNvPr>
            <p:cNvSpPr/>
            <p:nvPr/>
          </p:nvSpPr>
          <p:spPr>
            <a:xfrm>
              <a:off x="6023973" y="1369786"/>
              <a:ext cx="250248" cy="252262"/>
            </a:xfrm>
            <a:custGeom>
              <a:avLst/>
              <a:gdLst/>
              <a:ahLst/>
              <a:cxnLst/>
              <a:rect l="l" t="t" r="r" b="b"/>
              <a:pathLst>
                <a:path w="14909" h="15029" extrusionOk="0">
                  <a:moveTo>
                    <a:pt x="11991" y="1"/>
                  </a:moveTo>
                  <a:lnTo>
                    <a:pt x="1" y="12071"/>
                  </a:lnTo>
                  <a:lnTo>
                    <a:pt x="2998" y="15029"/>
                  </a:lnTo>
                  <a:lnTo>
                    <a:pt x="14908" y="2839"/>
                  </a:lnTo>
                  <a:lnTo>
                    <a:pt x="11991" y="1"/>
                  </a:lnTo>
                  <a:close/>
                </a:path>
              </a:pathLst>
            </a:custGeom>
            <a:solidFill>
              <a:srgbClr val="20124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" name="Google Shape;478;p36">
              <a:extLst>
                <a:ext uri="{FF2B5EF4-FFF2-40B4-BE49-F238E27FC236}">
                  <a16:creationId xmlns:a16="http://schemas.microsoft.com/office/drawing/2014/main" id="{5CA2EF02-0AE2-45D5-A3BE-E8EB2D214959}"/>
                </a:ext>
              </a:extLst>
            </p:cNvPr>
            <p:cNvSpPr/>
            <p:nvPr/>
          </p:nvSpPr>
          <p:spPr>
            <a:xfrm>
              <a:off x="6222529" y="1560304"/>
              <a:ext cx="250919" cy="251590"/>
            </a:xfrm>
            <a:custGeom>
              <a:avLst/>
              <a:gdLst/>
              <a:ahLst/>
              <a:cxnLst/>
              <a:rect l="l" t="t" r="r" b="b"/>
              <a:pathLst>
                <a:path w="14949" h="14989" extrusionOk="0">
                  <a:moveTo>
                    <a:pt x="11991" y="1"/>
                  </a:moveTo>
                  <a:lnTo>
                    <a:pt x="1" y="12071"/>
                  </a:lnTo>
                  <a:lnTo>
                    <a:pt x="2998" y="14989"/>
                  </a:lnTo>
                  <a:lnTo>
                    <a:pt x="14949" y="2838"/>
                  </a:lnTo>
                  <a:lnTo>
                    <a:pt x="11991" y="1"/>
                  </a:lnTo>
                  <a:close/>
                </a:path>
              </a:pathLst>
            </a:custGeom>
            <a:solidFill>
              <a:srgbClr val="20124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" name="Google Shape;479;p36">
              <a:extLst>
                <a:ext uri="{FF2B5EF4-FFF2-40B4-BE49-F238E27FC236}">
                  <a16:creationId xmlns:a16="http://schemas.microsoft.com/office/drawing/2014/main" id="{6BE7BC66-55AB-4DA9-A296-B4257BA91FED}"/>
                </a:ext>
              </a:extLst>
            </p:cNvPr>
            <p:cNvSpPr/>
            <p:nvPr/>
          </p:nvSpPr>
          <p:spPr>
            <a:xfrm>
              <a:off x="6252723" y="2794633"/>
              <a:ext cx="637998" cy="675563"/>
            </a:xfrm>
            <a:custGeom>
              <a:avLst/>
              <a:gdLst/>
              <a:ahLst/>
              <a:cxnLst/>
              <a:rect l="l" t="t" r="r" b="b"/>
              <a:pathLst>
                <a:path w="38010" h="40248" extrusionOk="0">
                  <a:moveTo>
                    <a:pt x="22742" y="0"/>
                  </a:moveTo>
                  <a:lnTo>
                    <a:pt x="0" y="38249"/>
                  </a:lnTo>
                  <a:lnTo>
                    <a:pt x="9193" y="40247"/>
                  </a:lnTo>
                  <a:lnTo>
                    <a:pt x="38010" y="3757"/>
                  </a:lnTo>
                  <a:lnTo>
                    <a:pt x="22742" y="0"/>
                  </a:lnTo>
                  <a:close/>
                </a:path>
              </a:pathLst>
            </a:custGeom>
            <a:solidFill>
              <a:srgbClr val="E5A89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" name="Google Shape;480;p36">
              <a:extLst>
                <a:ext uri="{FF2B5EF4-FFF2-40B4-BE49-F238E27FC236}">
                  <a16:creationId xmlns:a16="http://schemas.microsoft.com/office/drawing/2014/main" id="{DD95ADA0-821A-46ED-A25F-BA91E5D7DC88}"/>
                </a:ext>
              </a:extLst>
            </p:cNvPr>
            <p:cNvSpPr/>
            <p:nvPr/>
          </p:nvSpPr>
          <p:spPr>
            <a:xfrm>
              <a:off x="6252723" y="3243409"/>
              <a:ext cx="290498" cy="226765"/>
            </a:xfrm>
            <a:custGeom>
              <a:avLst/>
              <a:gdLst/>
              <a:ahLst/>
              <a:cxnLst/>
              <a:rect l="l" t="t" r="r" b="b"/>
              <a:pathLst>
                <a:path w="17307" h="13510" extrusionOk="0">
                  <a:moveTo>
                    <a:pt x="6835" y="0"/>
                  </a:moveTo>
                  <a:lnTo>
                    <a:pt x="0" y="11511"/>
                  </a:lnTo>
                  <a:lnTo>
                    <a:pt x="9193" y="13509"/>
                  </a:lnTo>
                  <a:lnTo>
                    <a:pt x="17306" y="3238"/>
                  </a:lnTo>
                  <a:lnTo>
                    <a:pt x="6835" y="0"/>
                  </a:lnTo>
                  <a:close/>
                </a:path>
              </a:pathLst>
            </a:custGeom>
            <a:solidFill>
              <a:srgbClr val="FDFBF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" name="Google Shape;481;p36">
              <a:extLst>
                <a:ext uri="{FF2B5EF4-FFF2-40B4-BE49-F238E27FC236}">
                  <a16:creationId xmlns:a16="http://schemas.microsoft.com/office/drawing/2014/main" id="{E2BA7FA9-83C9-4016-950D-79424F9C0F9C}"/>
                </a:ext>
              </a:extLst>
            </p:cNvPr>
            <p:cNvSpPr/>
            <p:nvPr/>
          </p:nvSpPr>
          <p:spPr>
            <a:xfrm>
              <a:off x="6174912" y="3394350"/>
              <a:ext cx="463568" cy="363613"/>
            </a:xfrm>
            <a:custGeom>
              <a:avLst/>
              <a:gdLst/>
              <a:ahLst/>
              <a:cxnLst/>
              <a:rect l="l" t="t" r="r" b="b"/>
              <a:pathLst>
                <a:path w="27618" h="21663" extrusionOk="0">
                  <a:moveTo>
                    <a:pt x="5875" y="0"/>
                  </a:moveTo>
                  <a:lnTo>
                    <a:pt x="0" y="8233"/>
                  </a:lnTo>
                  <a:lnTo>
                    <a:pt x="26539" y="21662"/>
                  </a:lnTo>
                  <a:cubicBezTo>
                    <a:pt x="27618" y="20104"/>
                    <a:pt x="25420" y="16946"/>
                    <a:pt x="24221" y="15467"/>
                  </a:cubicBezTo>
                  <a:lnTo>
                    <a:pt x="14229" y="3957"/>
                  </a:lnTo>
                  <a:lnTo>
                    <a:pt x="5875" y="0"/>
                  </a:lnTo>
                  <a:close/>
                </a:path>
              </a:pathLst>
            </a:custGeom>
            <a:solidFill>
              <a:srgbClr val="20124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" name="Google Shape;482;p36">
              <a:extLst>
                <a:ext uri="{FF2B5EF4-FFF2-40B4-BE49-F238E27FC236}">
                  <a16:creationId xmlns:a16="http://schemas.microsoft.com/office/drawing/2014/main" id="{A26708EE-C13F-422E-B41C-278D616E1758}"/>
                </a:ext>
              </a:extLst>
            </p:cNvPr>
            <p:cNvSpPr/>
            <p:nvPr/>
          </p:nvSpPr>
          <p:spPr>
            <a:xfrm>
              <a:off x="6439883" y="3614626"/>
              <a:ext cx="217366" cy="159424"/>
            </a:xfrm>
            <a:custGeom>
              <a:avLst/>
              <a:gdLst/>
              <a:ahLst/>
              <a:cxnLst/>
              <a:rect l="l" t="t" r="r" b="b"/>
              <a:pathLst>
                <a:path w="12950" h="9498" extrusionOk="0">
                  <a:moveTo>
                    <a:pt x="5868" y="0"/>
                  </a:moveTo>
                  <a:cubicBezTo>
                    <a:pt x="3949" y="0"/>
                    <a:pt x="1566" y="938"/>
                    <a:pt x="0" y="4861"/>
                  </a:cubicBezTo>
                  <a:lnTo>
                    <a:pt x="10592" y="9498"/>
                  </a:lnTo>
                  <a:lnTo>
                    <a:pt x="12950" y="5781"/>
                  </a:lnTo>
                  <a:lnTo>
                    <a:pt x="8993" y="785"/>
                  </a:lnTo>
                  <a:cubicBezTo>
                    <a:pt x="8993" y="785"/>
                    <a:pt x="7625" y="0"/>
                    <a:pt x="586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" name="Google Shape;483;p36">
              <a:extLst>
                <a:ext uri="{FF2B5EF4-FFF2-40B4-BE49-F238E27FC236}">
                  <a16:creationId xmlns:a16="http://schemas.microsoft.com/office/drawing/2014/main" id="{7FB6A8C1-6761-4325-BB9C-2498567C6AA2}"/>
                </a:ext>
              </a:extLst>
            </p:cNvPr>
            <p:cNvSpPr/>
            <p:nvPr/>
          </p:nvSpPr>
          <p:spPr>
            <a:xfrm>
              <a:off x="6349316" y="3422010"/>
              <a:ext cx="108700" cy="73653"/>
            </a:xfrm>
            <a:custGeom>
              <a:avLst/>
              <a:gdLst/>
              <a:ahLst/>
              <a:cxnLst/>
              <a:rect l="l" t="t" r="r" b="b"/>
              <a:pathLst>
                <a:path w="6476" h="4388" extrusionOk="0">
                  <a:moveTo>
                    <a:pt x="3517" y="0"/>
                  </a:moveTo>
                  <a:cubicBezTo>
                    <a:pt x="3088" y="0"/>
                    <a:pt x="2660" y="101"/>
                    <a:pt x="2279" y="310"/>
                  </a:cubicBezTo>
                  <a:lnTo>
                    <a:pt x="1" y="1509"/>
                  </a:lnTo>
                  <a:lnTo>
                    <a:pt x="5636" y="4387"/>
                  </a:lnTo>
                  <a:lnTo>
                    <a:pt x="5836" y="3947"/>
                  </a:lnTo>
                  <a:cubicBezTo>
                    <a:pt x="6476" y="2708"/>
                    <a:pt x="6276" y="1030"/>
                    <a:pt x="4877" y="350"/>
                  </a:cubicBezTo>
                  <a:cubicBezTo>
                    <a:pt x="4459" y="121"/>
                    <a:pt x="3987" y="0"/>
                    <a:pt x="3517" y="0"/>
                  </a:cubicBezTo>
                  <a:close/>
                </a:path>
              </a:pathLst>
            </a:custGeom>
            <a:solidFill>
              <a:srgbClr val="20124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" name="Google Shape;484;p36">
              <a:extLst>
                <a:ext uri="{FF2B5EF4-FFF2-40B4-BE49-F238E27FC236}">
                  <a16:creationId xmlns:a16="http://schemas.microsoft.com/office/drawing/2014/main" id="{F12501B5-8BD9-4A16-8D62-39D0C6770A92}"/>
                </a:ext>
              </a:extLst>
            </p:cNvPr>
            <p:cNvSpPr/>
            <p:nvPr/>
          </p:nvSpPr>
          <p:spPr>
            <a:xfrm>
              <a:off x="6160142" y="3505696"/>
              <a:ext cx="460228" cy="275744"/>
            </a:xfrm>
            <a:custGeom>
              <a:avLst/>
              <a:gdLst/>
              <a:ahLst/>
              <a:cxnLst/>
              <a:rect l="l" t="t" r="r" b="b"/>
              <a:pathLst>
                <a:path w="27419" h="16428" extrusionOk="0">
                  <a:moveTo>
                    <a:pt x="1919" y="1"/>
                  </a:moveTo>
                  <a:lnTo>
                    <a:pt x="1" y="2958"/>
                  </a:lnTo>
                  <a:lnTo>
                    <a:pt x="26699" y="16427"/>
                  </a:lnTo>
                  <a:lnTo>
                    <a:pt x="27419" y="15028"/>
                  </a:lnTo>
                  <a:lnTo>
                    <a:pt x="1919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" name="Google Shape;485;p36">
              <a:extLst>
                <a:ext uri="{FF2B5EF4-FFF2-40B4-BE49-F238E27FC236}">
                  <a16:creationId xmlns:a16="http://schemas.microsoft.com/office/drawing/2014/main" id="{045A0ACC-089A-48F1-9487-4E379CF262D7}"/>
                </a:ext>
              </a:extLst>
            </p:cNvPr>
            <p:cNvSpPr/>
            <p:nvPr/>
          </p:nvSpPr>
          <p:spPr>
            <a:xfrm>
              <a:off x="6435855" y="3542118"/>
              <a:ext cx="63078" cy="15258"/>
            </a:xfrm>
            <a:custGeom>
              <a:avLst/>
              <a:gdLst/>
              <a:ahLst/>
              <a:cxnLst/>
              <a:rect l="l" t="t" r="r" b="b"/>
              <a:pathLst>
                <a:path w="3758" h="909" extrusionOk="0">
                  <a:moveTo>
                    <a:pt x="1750" y="0"/>
                  </a:moveTo>
                  <a:cubicBezTo>
                    <a:pt x="1209" y="0"/>
                    <a:pt x="668" y="113"/>
                    <a:pt x="160" y="349"/>
                  </a:cubicBezTo>
                  <a:cubicBezTo>
                    <a:pt x="41" y="389"/>
                    <a:pt x="1" y="548"/>
                    <a:pt x="41" y="668"/>
                  </a:cubicBezTo>
                  <a:cubicBezTo>
                    <a:pt x="71" y="758"/>
                    <a:pt x="168" y="803"/>
                    <a:pt x="265" y="803"/>
                  </a:cubicBezTo>
                  <a:cubicBezTo>
                    <a:pt x="298" y="803"/>
                    <a:pt x="330" y="798"/>
                    <a:pt x="360" y="788"/>
                  </a:cubicBezTo>
                  <a:cubicBezTo>
                    <a:pt x="809" y="583"/>
                    <a:pt x="1292" y="482"/>
                    <a:pt x="1773" y="482"/>
                  </a:cubicBezTo>
                  <a:cubicBezTo>
                    <a:pt x="2322" y="482"/>
                    <a:pt x="2868" y="613"/>
                    <a:pt x="3358" y="868"/>
                  </a:cubicBezTo>
                  <a:cubicBezTo>
                    <a:pt x="3398" y="908"/>
                    <a:pt x="3438" y="908"/>
                    <a:pt x="3478" y="908"/>
                  </a:cubicBezTo>
                  <a:cubicBezTo>
                    <a:pt x="3558" y="908"/>
                    <a:pt x="3638" y="868"/>
                    <a:pt x="3678" y="788"/>
                  </a:cubicBezTo>
                  <a:cubicBezTo>
                    <a:pt x="3758" y="708"/>
                    <a:pt x="3718" y="548"/>
                    <a:pt x="3638" y="469"/>
                  </a:cubicBezTo>
                  <a:cubicBezTo>
                    <a:pt x="3048" y="163"/>
                    <a:pt x="2400" y="0"/>
                    <a:pt x="1750" y="0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" name="Google Shape;486;p36">
              <a:extLst>
                <a:ext uri="{FF2B5EF4-FFF2-40B4-BE49-F238E27FC236}">
                  <a16:creationId xmlns:a16="http://schemas.microsoft.com/office/drawing/2014/main" id="{45861C1A-7E4E-49CB-BD4D-EC1C44EF7B1E}"/>
                </a:ext>
              </a:extLst>
            </p:cNvPr>
            <p:cNvSpPr/>
            <p:nvPr/>
          </p:nvSpPr>
          <p:spPr>
            <a:xfrm>
              <a:off x="6415059" y="3519073"/>
              <a:ext cx="63749" cy="15493"/>
            </a:xfrm>
            <a:custGeom>
              <a:avLst/>
              <a:gdLst/>
              <a:ahLst/>
              <a:cxnLst/>
              <a:rect l="l" t="t" r="r" b="b"/>
              <a:pathLst>
                <a:path w="3798" h="923" extrusionOk="0">
                  <a:moveTo>
                    <a:pt x="1793" y="1"/>
                  </a:moveTo>
                  <a:cubicBezTo>
                    <a:pt x="1246" y="1"/>
                    <a:pt x="701" y="121"/>
                    <a:pt x="200" y="363"/>
                  </a:cubicBezTo>
                  <a:cubicBezTo>
                    <a:pt x="81" y="403"/>
                    <a:pt x="1" y="523"/>
                    <a:pt x="81" y="642"/>
                  </a:cubicBezTo>
                  <a:cubicBezTo>
                    <a:pt x="113" y="741"/>
                    <a:pt x="200" y="813"/>
                    <a:pt x="319" y="813"/>
                  </a:cubicBezTo>
                  <a:cubicBezTo>
                    <a:pt x="345" y="813"/>
                    <a:pt x="372" y="809"/>
                    <a:pt x="400" y="802"/>
                  </a:cubicBezTo>
                  <a:cubicBezTo>
                    <a:pt x="832" y="577"/>
                    <a:pt x="1309" y="466"/>
                    <a:pt x="1792" y="466"/>
                  </a:cubicBezTo>
                  <a:cubicBezTo>
                    <a:pt x="2336" y="466"/>
                    <a:pt x="2889" y="607"/>
                    <a:pt x="3398" y="882"/>
                  </a:cubicBezTo>
                  <a:cubicBezTo>
                    <a:pt x="3438" y="882"/>
                    <a:pt x="3478" y="922"/>
                    <a:pt x="3518" y="922"/>
                  </a:cubicBezTo>
                  <a:cubicBezTo>
                    <a:pt x="3598" y="922"/>
                    <a:pt x="3678" y="882"/>
                    <a:pt x="3718" y="802"/>
                  </a:cubicBezTo>
                  <a:cubicBezTo>
                    <a:pt x="3798" y="682"/>
                    <a:pt x="3758" y="563"/>
                    <a:pt x="3638" y="483"/>
                  </a:cubicBezTo>
                  <a:cubicBezTo>
                    <a:pt x="3060" y="161"/>
                    <a:pt x="2424" y="1"/>
                    <a:pt x="1793" y="1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" name="Google Shape;487;p36">
              <a:extLst>
                <a:ext uri="{FF2B5EF4-FFF2-40B4-BE49-F238E27FC236}">
                  <a16:creationId xmlns:a16="http://schemas.microsoft.com/office/drawing/2014/main" id="{936FE364-0F35-48EC-AB37-7A940AB7BBCC}"/>
                </a:ext>
              </a:extLst>
            </p:cNvPr>
            <p:cNvSpPr/>
            <p:nvPr/>
          </p:nvSpPr>
          <p:spPr>
            <a:xfrm>
              <a:off x="6398292" y="3497841"/>
              <a:ext cx="63749" cy="15258"/>
            </a:xfrm>
            <a:custGeom>
              <a:avLst/>
              <a:gdLst/>
              <a:ahLst/>
              <a:cxnLst/>
              <a:rect l="l" t="t" r="r" b="b"/>
              <a:pathLst>
                <a:path w="3798" h="909" extrusionOk="0">
                  <a:moveTo>
                    <a:pt x="1772" y="1"/>
                  </a:moveTo>
                  <a:cubicBezTo>
                    <a:pt x="1241" y="1"/>
                    <a:pt x="708" y="113"/>
                    <a:pt x="200" y="349"/>
                  </a:cubicBezTo>
                  <a:cubicBezTo>
                    <a:pt x="80" y="389"/>
                    <a:pt x="0" y="549"/>
                    <a:pt x="80" y="668"/>
                  </a:cubicBezTo>
                  <a:cubicBezTo>
                    <a:pt x="110" y="758"/>
                    <a:pt x="185" y="803"/>
                    <a:pt x="288" y="803"/>
                  </a:cubicBezTo>
                  <a:cubicBezTo>
                    <a:pt x="323" y="803"/>
                    <a:pt x="360" y="798"/>
                    <a:pt x="400" y="788"/>
                  </a:cubicBezTo>
                  <a:cubicBezTo>
                    <a:pt x="830" y="583"/>
                    <a:pt x="1303" y="482"/>
                    <a:pt x="1783" y="482"/>
                  </a:cubicBezTo>
                  <a:cubicBezTo>
                    <a:pt x="2331" y="482"/>
                    <a:pt x="2887" y="613"/>
                    <a:pt x="3398" y="868"/>
                  </a:cubicBezTo>
                  <a:cubicBezTo>
                    <a:pt x="3398" y="908"/>
                    <a:pt x="3478" y="908"/>
                    <a:pt x="3518" y="908"/>
                  </a:cubicBezTo>
                  <a:cubicBezTo>
                    <a:pt x="3597" y="908"/>
                    <a:pt x="3677" y="868"/>
                    <a:pt x="3717" y="788"/>
                  </a:cubicBezTo>
                  <a:cubicBezTo>
                    <a:pt x="3797" y="668"/>
                    <a:pt x="3757" y="549"/>
                    <a:pt x="3637" y="469"/>
                  </a:cubicBezTo>
                  <a:cubicBezTo>
                    <a:pt x="3048" y="163"/>
                    <a:pt x="2411" y="1"/>
                    <a:pt x="1772" y="1"/>
                  </a:cubicBez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" name="Google Shape;488;p36">
              <a:extLst>
                <a:ext uri="{FF2B5EF4-FFF2-40B4-BE49-F238E27FC236}">
                  <a16:creationId xmlns:a16="http://schemas.microsoft.com/office/drawing/2014/main" id="{515E0F36-3F26-4C59-9803-9BBAB7E9CB4F}"/>
                </a:ext>
              </a:extLst>
            </p:cNvPr>
            <p:cNvSpPr/>
            <p:nvPr/>
          </p:nvSpPr>
          <p:spPr>
            <a:xfrm>
              <a:off x="6252723" y="2553124"/>
              <a:ext cx="671534" cy="364167"/>
            </a:xfrm>
            <a:custGeom>
              <a:avLst/>
              <a:gdLst/>
              <a:ahLst/>
              <a:cxnLst/>
              <a:rect l="l" t="t" r="r" b="b"/>
              <a:pathLst>
                <a:path w="40008" h="21696" extrusionOk="0">
                  <a:moveTo>
                    <a:pt x="20584" y="1"/>
                  </a:moveTo>
                  <a:lnTo>
                    <a:pt x="0" y="11591"/>
                  </a:lnTo>
                  <a:lnTo>
                    <a:pt x="29656" y="21343"/>
                  </a:lnTo>
                  <a:cubicBezTo>
                    <a:pt x="30389" y="21582"/>
                    <a:pt x="31137" y="21696"/>
                    <a:pt x="31874" y="21696"/>
                  </a:cubicBezTo>
                  <a:cubicBezTo>
                    <a:pt x="34353" y="21696"/>
                    <a:pt x="36716" y="20404"/>
                    <a:pt x="38010" y="18186"/>
                  </a:cubicBezTo>
                  <a:cubicBezTo>
                    <a:pt x="40008" y="14749"/>
                    <a:pt x="38849" y="10352"/>
                    <a:pt x="35372" y="8394"/>
                  </a:cubicBezTo>
                  <a:lnTo>
                    <a:pt x="20584" y="1"/>
                  </a:lnTo>
                  <a:close/>
                </a:path>
              </a:pathLst>
            </a:custGeom>
            <a:solidFill>
              <a:srgbClr val="E5A89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74" name="Google Shape;489;p36">
              <a:extLst>
                <a:ext uri="{FF2B5EF4-FFF2-40B4-BE49-F238E27FC236}">
                  <a16:creationId xmlns:a16="http://schemas.microsoft.com/office/drawing/2014/main" id="{1B47B96C-99C6-4330-9792-B087FE020297}"/>
                </a:ext>
              </a:extLst>
            </p:cNvPr>
            <p:cNvSpPr/>
            <p:nvPr/>
          </p:nvSpPr>
          <p:spPr>
            <a:xfrm>
              <a:off x="5893829" y="2084895"/>
              <a:ext cx="421320" cy="456871"/>
            </a:xfrm>
            <a:custGeom>
              <a:avLst/>
              <a:gdLst/>
              <a:ahLst/>
              <a:cxnLst/>
              <a:rect l="l" t="t" r="r" b="b"/>
              <a:pathLst>
                <a:path w="25101" h="27219" extrusionOk="0">
                  <a:moveTo>
                    <a:pt x="17347" y="0"/>
                  </a:moveTo>
                  <a:cubicBezTo>
                    <a:pt x="4557" y="6435"/>
                    <a:pt x="1" y="16787"/>
                    <a:pt x="1" y="16787"/>
                  </a:cubicBezTo>
                  <a:lnTo>
                    <a:pt x="9873" y="27218"/>
                  </a:lnTo>
                  <a:lnTo>
                    <a:pt x="21903" y="24500"/>
                  </a:lnTo>
                  <a:lnTo>
                    <a:pt x="25100" y="13509"/>
                  </a:lnTo>
                  <a:lnTo>
                    <a:pt x="17347" y="0"/>
                  </a:lnTo>
                  <a:close/>
                </a:path>
              </a:pathLst>
            </a:custGeom>
            <a:solidFill>
              <a:srgbClr val="D6927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" name="Google Shape;490;p36">
              <a:extLst>
                <a:ext uri="{FF2B5EF4-FFF2-40B4-BE49-F238E27FC236}">
                  <a16:creationId xmlns:a16="http://schemas.microsoft.com/office/drawing/2014/main" id="{50FC127C-C985-423A-8228-DDC3CAD00E76}"/>
                </a:ext>
              </a:extLst>
            </p:cNvPr>
            <p:cNvSpPr/>
            <p:nvPr/>
          </p:nvSpPr>
          <p:spPr>
            <a:xfrm>
              <a:off x="5773085" y="2366635"/>
              <a:ext cx="825167" cy="482367"/>
            </a:xfrm>
            <a:custGeom>
              <a:avLst/>
              <a:gdLst/>
              <a:ahLst/>
              <a:cxnLst/>
              <a:rect l="l" t="t" r="r" b="b"/>
              <a:pathLst>
                <a:path w="49161" h="28738" extrusionOk="0">
                  <a:moveTo>
                    <a:pt x="7195" y="1"/>
                  </a:moveTo>
                  <a:cubicBezTo>
                    <a:pt x="7195" y="1"/>
                    <a:pt x="1" y="13030"/>
                    <a:pt x="16347" y="21303"/>
                  </a:cubicBezTo>
                  <a:lnTo>
                    <a:pt x="33374" y="28737"/>
                  </a:lnTo>
                  <a:lnTo>
                    <a:pt x="49161" y="11112"/>
                  </a:lnTo>
                  <a:lnTo>
                    <a:pt x="33893" y="1759"/>
                  </a:lnTo>
                  <a:lnTo>
                    <a:pt x="28218" y="1"/>
                  </a:lnTo>
                  <a:close/>
                </a:path>
              </a:pathLst>
            </a:custGeom>
            <a:solidFill>
              <a:srgbClr val="4DA2C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" name="Google Shape;491;p36">
              <a:extLst>
                <a:ext uri="{FF2B5EF4-FFF2-40B4-BE49-F238E27FC236}">
                  <a16:creationId xmlns:a16="http://schemas.microsoft.com/office/drawing/2014/main" id="{C994F223-F377-4174-ABC7-B85FE177987E}"/>
                </a:ext>
              </a:extLst>
            </p:cNvPr>
            <p:cNvSpPr/>
            <p:nvPr/>
          </p:nvSpPr>
          <p:spPr>
            <a:xfrm>
              <a:off x="5905242" y="1708995"/>
              <a:ext cx="930493" cy="687211"/>
            </a:xfrm>
            <a:custGeom>
              <a:avLst/>
              <a:gdLst/>
              <a:ahLst/>
              <a:cxnLst/>
              <a:rect l="l" t="t" r="r" b="b"/>
              <a:pathLst>
                <a:path w="55436" h="40942" extrusionOk="0">
                  <a:moveTo>
                    <a:pt x="45899" y="0"/>
                  </a:moveTo>
                  <a:cubicBezTo>
                    <a:pt x="39776" y="0"/>
                    <a:pt x="23273" y="3214"/>
                    <a:pt x="0" y="32508"/>
                  </a:cubicBezTo>
                  <a:lnTo>
                    <a:pt x="26019" y="40941"/>
                  </a:lnTo>
                  <a:cubicBezTo>
                    <a:pt x="26019" y="40941"/>
                    <a:pt x="47322" y="35985"/>
                    <a:pt x="54596" y="9807"/>
                  </a:cubicBezTo>
                  <a:cubicBezTo>
                    <a:pt x="55435" y="6809"/>
                    <a:pt x="48521" y="254"/>
                    <a:pt x="48521" y="254"/>
                  </a:cubicBezTo>
                  <a:cubicBezTo>
                    <a:pt x="48521" y="254"/>
                    <a:pt x="47620" y="0"/>
                    <a:pt x="45899" y="0"/>
                  </a:cubicBezTo>
                  <a:close/>
                </a:path>
              </a:pathLst>
            </a:custGeom>
            <a:solidFill>
              <a:srgbClr val="FDFBF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7" name="Google Shape;492;p36">
              <a:extLst>
                <a:ext uri="{FF2B5EF4-FFF2-40B4-BE49-F238E27FC236}">
                  <a16:creationId xmlns:a16="http://schemas.microsoft.com/office/drawing/2014/main" id="{F0D0E414-8A0D-4581-A8DE-8589013A72F1}"/>
                </a:ext>
              </a:extLst>
            </p:cNvPr>
            <p:cNvSpPr/>
            <p:nvPr/>
          </p:nvSpPr>
          <p:spPr>
            <a:xfrm>
              <a:off x="5882433" y="2169420"/>
              <a:ext cx="794971" cy="220924"/>
            </a:xfrm>
            <a:custGeom>
              <a:avLst/>
              <a:gdLst/>
              <a:ahLst/>
              <a:cxnLst/>
              <a:rect l="l" t="t" r="r" b="b"/>
              <a:pathLst>
                <a:path w="47362" h="13162" extrusionOk="0">
                  <a:moveTo>
                    <a:pt x="47362" y="0"/>
                  </a:moveTo>
                  <a:lnTo>
                    <a:pt x="47362" y="0"/>
                  </a:lnTo>
                  <a:cubicBezTo>
                    <a:pt x="31894" y="8393"/>
                    <a:pt x="1479" y="10192"/>
                    <a:pt x="1479" y="10192"/>
                  </a:cubicBezTo>
                  <a:cubicBezTo>
                    <a:pt x="0" y="10232"/>
                    <a:pt x="40" y="13150"/>
                    <a:pt x="40" y="13150"/>
                  </a:cubicBezTo>
                  <a:cubicBezTo>
                    <a:pt x="591" y="13158"/>
                    <a:pt x="1138" y="13161"/>
                    <a:pt x="1682" y="13161"/>
                  </a:cubicBezTo>
                  <a:cubicBezTo>
                    <a:pt x="25602" y="13161"/>
                    <a:pt x="42606" y="5596"/>
                    <a:pt x="42606" y="5596"/>
                  </a:cubicBezTo>
                  <a:lnTo>
                    <a:pt x="47362" y="0"/>
                  </a:lnTo>
                  <a:close/>
                </a:path>
              </a:pathLst>
            </a:custGeom>
            <a:solidFill>
              <a:srgbClr val="20124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" name="Google Shape;493;p36">
              <a:extLst>
                <a:ext uri="{FF2B5EF4-FFF2-40B4-BE49-F238E27FC236}">
                  <a16:creationId xmlns:a16="http://schemas.microsoft.com/office/drawing/2014/main" id="{656C83D1-9720-4721-9805-5933185C818D}"/>
                </a:ext>
              </a:extLst>
            </p:cNvPr>
            <p:cNvSpPr/>
            <p:nvPr/>
          </p:nvSpPr>
          <p:spPr>
            <a:xfrm>
              <a:off x="6439211" y="2343338"/>
              <a:ext cx="630612" cy="277876"/>
            </a:xfrm>
            <a:custGeom>
              <a:avLst/>
              <a:gdLst/>
              <a:ahLst/>
              <a:cxnLst/>
              <a:rect l="l" t="t" r="r" b="b"/>
              <a:pathLst>
                <a:path w="37570" h="16555" extrusionOk="0">
                  <a:moveTo>
                    <a:pt x="5442" y="1"/>
                  </a:moveTo>
                  <a:cubicBezTo>
                    <a:pt x="3667" y="1"/>
                    <a:pt x="2206" y="801"/>
                    <a:pt x="1399" y="2907"/>
                  </a:cubicBezTo>
                  <a:cubicBezTo>
                    <a:pt x="0" y="6584"/>
                    <a:pt x="1879" y="10701"/>
                    <a:pt x="5556" y="12060"/>
                  </a:cubicBezTo>
                  <a:lnTo>
                    <a:pt x="35212" y="16456"/>
                  </a:lnTo>
                  <a:cubicBezTo>
                    <a:pt x="35408" y="16524"/>
                    <a:pt x="35582" y="16555"/>
                    <a:pt x="35737" y="16555"/>
                  </a:cubicBezTo>
                  <a:cubicBezTo>
                    <a:pt x="36691" y="16555"/>
                    <a:pt x="36941" y="15381"/>
                    <a:pt x="37250" y="14178"/>
                  </a:cubicBezTo>
                  <a:cubicBezTo>
                    <a:pt x="37570" y="12979"/>
                    <a:pt x="36571" y="11780"/>
                    <a:pt x="35412" y="11301"/>
                  </a:cubicBezTo>
                  <a:lnTo>
                    <a:pt x="10032" y="1229"/>
                  </a:lnTo>
                  <a:cubicBezTo>
                    <a:pt x="8417" y="492"/>
                    <a:pt x="6833" y="1"/>
                    <a:pt x="5442" y="1"/>
                  </a:cubicBezTo>
                  <a:close/>
                </a:path>
              </a:pathLst>
            </a:custGeom>
            <a:solidFill>
              <a:srgbClr val="E5A89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" name="Google Shape;494;p36">
              <a:extLst>
                <a:ext uri="{FF2B5EF4-FFF2-40B4-BE49-F238E27FC236}">
                  <a16:creationId xmlns:a16="http://schemas.microsoft.com/office/drawing/2014/main" id="{0C1E65E5-055A-4ED5-BC2A-4D47D121797F}"/>
                </a:ext>
              </a:extLst>
            </p:cNvPr>
            <p:cNvSpPr/>
            <p:nvPr/>
          </p:nvSpPr>
          <p:spPr>
            <a:xfrm>
              <a:off x="6971838" y="2506750"/>
              <a:ext cx="240177" cy="199960"/>
            </a:xfrm>
            <a:custGeom>
              <a:avLst/>
              <a:gdLst/>
              <a:ahLst/>
              <a:cxnLst/>
              <a:rect l="l" t="t" r="r" b="b"/>
              <a:pathLst>
                <a:path w="14309" h="11913" extrusionOk="0">
                  <a:moveTo>
                    <a:pt x="9910" y="0"/>
                  </a:moveTo>
                  <a:cubicBezTo>
                    <a:pt x="9713" y="0"/>
                    <a:pt x="9513" y="15"/>
                    <a:pt x="9313" y="46"/>
                  </a:cubicBezTo>
                  <a:lnTo>
                    <a:pt x="1999" y="965"/>
                  </a:lnTo>
                  <a:lnTo>
                    <a:pt x="1" y="6281"/>
                  </a:lnTo>
                  <a:cubicBezTo>
                    <a:pt x="1" y="6281"/>
                    <a:pt x="5156" y="11197"/>
                    <a:pt x="7475" y="11796"/>
                  </a:cubicBezTo>
                  <a:cubicBezTo>
                    <a:pt x="7778" y="11873"/>
                    <a:pt x="8091" y="11912"/>
                    <a:pt x="8409" y="11912"/>
                  </a:cubicBezTo>
                  <a:cubicBezTo>
                    <a:pt x="10563" y="11912"/>
                    <a:pt x="12934" y="10132"/>
                    <a:pt x="13909" y="6441"/>
                  </a:cubicBezTo>
                  <a:cubicBezTo>
                    <a:pt x="14309" y="4882"/>
                    <a:pt x="14069" y="3203"/>
                    <a:pt x="13230" y="1804"/>
                  </a:cubicBezTo>
                  <a:cubicBezTo>
                    <a:pt x="12498" y="690"/>
                    <a:pt x="11251" y="0"/>
                    <a:pt x="991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" name="Google Shape;495;p36">
              <a:extLst>
                <a:ext uri="{FF2B5EF4-FFF2-40B4-BE49-F238E27FC236}">
                  <a16:creationId xmlns:a16="http://schemas.microsoft.com/office/drawing/2014/main" id="{08CFCC67-11A7-48A2-A75D-4077BADB8E1C}"/>
                </a:ext>
              </a:extLst>
            </p:cNvPr>
            <p:cNvSpPr/>
            <p:nvPr/>
          </p:nvSpPr>
          <p:spPr>
            <a:xfrm>
              <a:off x="6953006" y="2559788"/>
              <a:ext cx="146315" cy="123789"/>
            </a:xfrm>
            <a:custGeom>
              <a:avLst/>
              <a:gdLst/>
              <a:ahLst/>
              <a:cxnLst/>
              <a:rect l="l" t="t" r="r" b="b"/>
              <a:pathLst>
                <a:path w="8717" h="7375" extrusionOk="0">
                  <a:moveTo>
                    <a:pt x="4749" y="1"/>
                  </a:moveTo>
                  <a:cubicBezTo>
                    <a:pt x="1833" y="1"/>
                    <a:pt x="1" y="3399"/>
                    <a:pt x="1842" y="5879"/>
                  </a:cubicBezTo>
                  <a:cubicBezTo>
                    <a:pt x="2604" y="6905"/>
                    <a:pt x="3699" y="7375"/>
                    <a:pt x="4781" y="7375"/>
                  </a:cubicBezTo>
                  <a:cubicBezTo>
                    <a:pt x="6479" y="7375"/>
                    <a:pt x="8144" y="6217"/>
                    <a:pt x="8437" y="4240"/>
                  </a:cubicBezTo>
                  <a:cubicBezTo>
                    <a:pt x="8716" y="2202"/>
                    <a:pt x="7358" y="363"/>
                    <a:pt x="5319" y="43"/>
                  </a:cubicBezTo>
                  <a:cubicBezTo>
                    <a:pt x="5125" y="15"/>
                    <a:pt x="4935" y="1"/>
                    <a:pt x="4749" y="1"/>
                  </a:cubicBezTo>
                  <a:close/>
                </a:path>
              </a:pathLst>
            </a:custGeom>
            <a:solidFill>
              <a:srgbClr val="20124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" name="Google Shape;496;p36">
              <a:extLst>
                <a:ext uri="{FF2B5EF4-FFF2-40B4-BE49-F238E27FC236}">
                  <a16:creationId xmlns:a16="http://schemas.microsoft.com/office/drawing/2014/main" id="{C4FFA587-6DC6-4C1C-9737-3C839B3BE323}"/>
                </a:ext>
              </a:extLst>
            </p:cNvPr>
            <p:cNvSpPr/>
            <p:nvPr/>
          </p:nvSpPr>
          <p:spPr>
            <a:xfrm>
              <a:off x="6937632" y="2508176"/>
              <a:ext cx="67761" cy="104671"/>
            </a:xfrm>
            <a:custGeom>
              <a:avLst/>
              <a:gdLst/>
              <a:ahLst/>
              <a:cxnLst/>
              <a:rect l="l" t="t" r="r" b="b"/>
              <a:pathLst>
                <a:path w="4037" h="6236" extrusionOk="0">
                  <a:moveTo>
                    <a:pt x="2039" y="1"/>
                  </a:moveTo>
                  <a:lnTo>
                    <a:pt x="0" y="5876"/>
                  </a:lnTo>
                  <a:lnTo>
                    <a:pt x="2079" y="6236"/>
                  </a:lnTo>
                  <a:lnTo>
                    <a:pt x="4037" y="880"/>
                  </a:lnTo>
                  <a:lnTo>
                    <a:pt x="2039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" name="Google Shape;497;p36">
              <a:extLst>
                <a:ext uri="{FF2B5EF4-FFF2-40B4-BE49-F238E27FC236}">
                  <a16:creationId xmlns:a16="http://schemas.microsoft.com/office/drawing/2014/main" id="{47EC5CB2-8C5C-49EB-A22B-5D9B616944E5}"/>
                </a:ext>
              </a:extLst>
            </p:cNvPr>
            <p:cNvSpPr/>
            <p:nvPr/>
          </p:nvSpPr>
          <p:spPr>
            <a:xfrm>
              <a:off x="6445925" y="1835330"/>
              <a:ext cx="256945" cy="717189"/>
            </a:xfrm>
            <a:custGeom>
              <a:avLst/>
              <a:gdLst/>
              <a:ahLst/>
              <a:cxnLst/>
              <a:rect l="l" t="t" r="r" b="b"/>
              <a:pathLst>
                <a:path w="15308" h="42728" extrusionOk="0">
                  <a:moveTo>
                    <a:pt x="8128" y="0"/>
                  </a:moveTo>
                  <a:cubicBezTo>
                    <a:pt x="3638" y="0"/>
                    <a:pt x="0" y="3647"/>
                    <a:pt x="0" y="8155"/>
                  </a:cubicBezTo>
                  <a:lnTo>
                    <a:pt x="600" y="35812"/>
                  </a:lnTo>
                  <a:cubicBezTo>
                    <a:pt x="600" y="39674"/>
                    <a:pt x="3730" y="42727"/>
                    <a:pt x="7516" y="42727"/>
                  </a:cubicBezTo>
                  <a:cubicBezTo>
                    <a:pt x="7766" y="42727"/>
                    <a:pt x="8019" y="42714"/>
                    <a:pt x="8273" y="42687"/>
                  </a:cubicBezTo>
                  <a:cubicBezTo>
                    <a:pt x="11551" y="42327"/>
                    <a:pt x="11910" y="39449"/>
                    <a:pt x="12150" y="36132"/>
                  </a:cubicBezTo>
                  <a:lnTo>
                    <a:pt x="14948" y="8634"/>
                  </a:lnTo>
                  <a:cubicBezTo>
                    <a:pt x="15308" y="3918"/>
                    <a:pt x="12990" y="81"/>
                    <a:pt x="8273" y="1"/>
                  </a:cubicBezTo>
                  <a:cubicBezTo>
                    <a:pt x="8225" y="1"/>
                    <a:pt x="8176" y="0"/>
                    <a:pt x="8128" y="0"/>
                  </a:cubicBezTo>
                  <a:close/>
                </a:path>
              </a:pathLst>
            </a:custGeom>
            <a:solidFill>
              <a:srgbClr val="E5A89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" name="Google Shape;498;p36">
              <a:extLst>
                <a:ext uri="{FF2B5EF4-FFF2-40B4-BE49-F238E27FC236}">
                  <a16:creationId xmlns:a16="http://schemas.microsoft.com/office/drawing/2014/main" id="{FD135CF5-A9DD-4DCD-BE7E-6CBF7B9E2BD6}"/>
                </a:ext>
              </a:extLst>
            </p:cNvPr>
            <p:cNvSpPr/>
            <p:nvPr/>
          </p:nvSpPr>
          <p:spPr>
            <a:xfrm>
              <a:off x="6378168" y="1781084"/>
              <a:ext cx="327224" cy="388371"/>
            </a:xfrm>
            <a:custGeom>
              <a:avLst/>
              <a:gdLst/>
              <a:ahLst/>
              <a:cxnLst/>
              <a:rect l="l" t="t" r="r" b="b"/>
              <a:pathLst>
                <a:path w="19495" h="23138" extrusionOk="0">
                  <a:moveTo>
                    <a:pt x="10540" y="0"/>
                  </a:moveTo>
                  <a:cubicBezTo>
                    <a:pt x="10051" y="0"/>
                    <a:pt x="9548" y="38"/>
                    <a:pt x="9033" y="116"/>
                  </a:cubicBezTo>
                  <a:lnTo>
                    <a:pt x="8713" y="156"/>
                  </a:lnTo>
                  <a:cubicBezTo>
                    <a:pt x="4117" y="995"/>
                    <a:pt x="760" y="4912"/>
                    <a:pt x="600" y="9548"/>
                  </a:cubicBezTo>
                  <a:lnTo>
                    <a:pt x="0" y="23137"/>
                  </a:lnTo>
                  <a:lnTo>
                    <a:pt x="0" y="23137"/>
                  </a:lnTo>
                  <a:lnTo>
                    <a:pt x="18066" y="20779"/>
                  </a:lnTo>
                  <a:cubicBezTo>
                    <a:pt x="18825" y="16423"/>
                    <a:pt x="19345" y="12666"/>
                    <a:pt x="19385" y="10028"/>
                  </a:cubicBezTo>
                  <a:cubicBezTo>
                    <a:pt x="19494" y="4395"/>
                    <a:pt x="15821" y="0"/>
                    <a:pt x="1054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" name="Google Shape;499;p36">
              <a:extLst>
                <a:ext uri="{FF2B5EF4-FFF2-40B4-BE49-F238E27FC236}">
                  <a16:creationId xmlns:a16="http://schemas.microsoft.com/office/drawing/2014/main" id="{671C8FBA-245A-4642-8B16-13E435A424C9}"/>
                </a:ext>
              </a:extLst>
            </p:cNvPr>
            <p:cNvSpPr/>
            <p:nvPr/>
          </p:nvSpPr>
          <p:spPr>
            <a:xfrm>
              <a:off x="6375482" y="1988285"/>
              <a:ext cx="77161" cy="183175"/>
            </a:xfrm>
            <a:custGeom>
              <a:avLst/>
              <a:gdLst/>
              <a:ahLst/>
              <a:cxnLst/>
              <a:rect l="l" t="t" r="r" b="b"/>
              <a:pathLst>
                <a:path w="4597" h="10913" extrusionOk="0">
                  <a:moveTo>
                    <a:pt x="640" y="1"/>
                  </a:moveTo>
                  <a:cubicBezTo>
                    <a:pt x="560" y="1"/>
                    <a:pt x="520" y="81"/>
                    <a:pt x="520" y="161"/>
                  </a:cubicBezTo>
                  <a:lnTo>
                    <a:pt x="1" y="10752"/>
                  </a:lnTo>
                  <a:cubicBezTo>
                    <a:pt x="1" y="10792"/>
                    <a:pt x="40" y="10832"/>
                    <a:pt x="40" y="10872"/>
                  </a:cubicBezTo>
                  <a:cubicBezTo>
                    <a:pt x="80" y="10912"/>
                    <a:pt x="120" y="10912"/>
                    <a:pt x="160" y="10912"/>
                  </a:cubicBezTo>
                  <a:lnTo>
                    <a:pt x="4437" y="10353"/>
                  </a:lnTo>
                  <a:cubicBezTo>
                    <a:pt x="4517" y="10353"/>
                    <a:pt x="4597" y="10273"/>
                    <a:pt x="4557" y="10193"/>
                  </a:cubicBezTo>
                  <a:cubicBezTo>
                    <a:pt x="4557" y="10113"/>
                    <a:pt x="4477" y="10073"/>
                    <a:pt x="4437" y="10073"/>
                  </a:cubicBezTo>
                  <a:lnTo>
                    <a:pt x="280" y="10592"/>
                  </a:lnTo>
                  <a:lnTo>
                    <a:pt x="800" y="161"/>
                  </a:lnTo>
                  <a:cubicBezTo>
                    <a:pt x="800" y="81"/>
                    <a:pt x="720" y="1"/>
                    <a:pt x="640" y="1"/>
                  </a:cubicBezTo>
                  <a:close/>
                </a:path>
              </a:pathLst>
            </a:custGeom>
            <a:solidFill>
              <a:srgbClr val="2120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" name="Google Shape;500;p36">
              <a:extLst>
                <a:ext uri="{FF2B5EF4-FFF2-40B4-BE49-F238E27FC236}">
                  <a16:creationId xmlns:a16="http://schemas.microsoft.com/office/drawing/2014/main" id="{2EE13334-A94C-4E85-9BC3-9CF9063D7D4A}"/>
                </a:ext>
              </a:extLst>
            </p:cNvPr>
            <p:cNvSpPr/>
            <p:nvPr/>
          </p:nvSpPr>
          <p:spPr>
            <a:xfrm>
              <a:off x="6681372" y="1915173"/>
              <a:ext cx="18799" cy="216711"/>
            </a:xfrm>
            <a:custGeom>
              <a:avLst/>
              <a:gdLst/>
              <a:ahLst/>
              <a:cxnLst/>
              <a:rect l="l" t="t" r="r" b="b"/>
              <a:pathLst>
                <a:path w="1120" h="12911" extrusionOk="0">
                  <a:moveTo>
                    <a:pt x="960" y="1"/>
                  </a:moveTo>
                  <a:cubicBezTo>
                    <a:pt x="880" y="1"/>
                    <a:pt x="840" y="80"/>
                    <a:pt x="800" y="160"/>
                  </a:cubicBezTo>
                  <a:lnTo>
                    <a:pt x="1" y="12750"/>
                  </a:lnTo>
                  <a:cubicBezTo>
                    <a:pt x="1" y="12830"/>
                    <a:pt x="41" y="12910"/>
                    <a:pt x="121" y="12910"/>
                  </a:cubicBezTo>
                  <a:cubicBezTo>
                    <a:pt x="201" y="12910"/>
                    <a:pt x="280" y="12870"/>
                    <a:pt x="280" y="12790"/>
                  </a:cubicBezTo>
                  <a:lnTo>
                    <a:pt x="1120" y="160"/>
                  </a:lnTo>
                  <a:cubicBezTo>
                    <a:pt x="1120" y="80"/>
                    <a:pt x="1040" y="40"/>
                    <a:pt x="960" y="1"/>
                  </a:cubicBezTo>
                  <a:close/>
                </a:path>
              </a:pathLst>
            </a:custGeom>
            <a:solidFill>
              <a:srgbClr val="2120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" name="Google Shape;501;p36">
              <a:extLst>
                <a:ext uri="{FF2B5EF4-FFF2-40B4-BE49-F238E27FC236}">
                  <a16:creationId xmlns:a16="http://schemas.microsoft.com/office/drawing/2014/main" id="{00B344D3-772B-4060-9390-5C204BB3D559}"/>
                </a:ext>
              </a:extLst>
            </p:cNvPr>
            <p:cNvSpPr/>
            <p:nvPr/>
          </p:nvSpPr>
          <p:spPr>
            <a:xfrm>
              <a:off x="6832983" y="1364432"/>
              <a:ext cx="338117" cy="409118"/>
            </a:xfrm>
            <a:custGeom>
              <a:avLst/>
              <a:gdLst/>
              <a:ahLst/>
              <a:cxnLst/>
              <a:rect l="l" t="t" r="r" b="b"/>
              <a:pathLst>
                <a:path w="20144" h="24374" extrusionOk="0">
                  <a:moveTo>
                    <a:pt x="13429" y="0"/>
                  </a:moveTo>
                  <a:lnTo>
                    <a:pt x="0" y="12550"/>
                  </a:lnTo>
                  <a:lnTo>
                    <a:pt x="3238" y="21103"/>
                  </a:lnTo>
                  <a:cubicBezTo>
                    <a:pt x="3238" y="21103"/>
                    <a:pt x="5836" y="22422"/>
                    <a:pt x="9872" y="24181"/>
                  </a:cubicBezTo>
                  <a:cubicBezTo>
                    <a:pt x="10176" y="24312"/>
                    <a:pt x="10474" y="24374"/>
                    <a:pt x="10766" y="24374"/>
                  </a:cubicBezTo>
                  <a:cubicBezTo>
                    <a:pt x="14394" y="24374"/>
                    <a:pt x="17109" y="14806"/>
                    <a:pt x="18625" y="9073"/>
                  </a:cubicBezTo>
                  <a:cubicBezTo>
                    <a:pt x="20144" y="3277"/>
                    <a:pt x="13429" y="0"/>
                    <a:pt x="13429" y="0"/>
                  </a:cubicBezTo>
                  <a:close/>
                </a:path>
              </a:pathLst>
            </a:custGeom>
            <a:solidFill>
              <a:srgbClr val="E5A89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" name="Google Shape;502;p36">
              <a:extLst>
                <a:ext uri="{FF2B5EF4-FFF2-40B4-BE49-F238E27FC236}">
                  <a16:creationId xmlns:a16="http://schemas.microsoft.com/office/drawing/2014/main" id="{9878B126-57BA-47A9-95D3-FBFB01435C54}"/>
                </a:ext>
              </a:extLst>
            </p:cNvPr>
            <p:cNvSpPr/>
            <p:nvPr/>
          </p:nvSpPr>
          <p:spPr>
            <a:xfrm>
              <a:off x="6719606" y="1569703"/>
              <a:ext cx="231465" cy="303909"/>
            </a:xfrm>
            <a:custGeom>
              <a:avLst/>
              <a:gdLst/>
              <a:ahLst/>
              <a:cxnLst/>
              <a:rect l="l" t="t" r="r" b="b"/>
              <a:pathLst>
                <a:path w="13790" h="18106" extrusionOk="0">
                  <a:moveTo>
                    <a:pt x="9113" y="0"/>
                  </a:moveTo>
                  <a:lnTo>
                    <a:pt x="1" y="8553"/>
                  </a:lnTo>
                  <a:lnTo>
                    <a:pt x="6076" y="18106"/>
                  </a:lnTo>
                  <a:lnTo>
                    <a:pt x="13790" y="9632"/>
                  </a:lnTo>
                  <a:lnTo>
                    <a:pt x="9113" y="0"/>
                  </a:lnTo>
                  <a:close/>
                </a:path>
              </a:pathLst>
            </a:custGeom>
            <a:solidFill>
              <a:srgbClr val="E5A89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" name="Google Shape;503;p36">
              <a:extLst>
                <a:ext uri="{FF2B5EF4-FFF2-40B4-BE49-F238E27FC236}">
                  <a16:creationId xmlns:a16="http://schemas.microsoft.com/office/drawing/2014/main" id="{0119FBE1-885A-4EAF-8143-FA94A4E3168F}"/>
                </a:ext>
              </a:extLst>
            </p:cNvPr>
            <p:cNvSpPr/>
            <p:nvPr/>
          </p:nvSpPr>
          <p:spPr>
            <a:xfrm>
              <a:off x="6887313" y="1681050"/>
              <a:ext cx="50338" cy="113399"/>
            </a:xfrm>
            <a:custGeom>
              <a:avLst/>
              <a:gdLst/>
              <a:ahLst/>
              <a:cxnLst/>
              <a:rect l="l" t="t" r="r" b="b"/>
              <a:pathLst>
                <a:path w="2999" h="6756" extrusionOk="0">
                  <a:moveTo>
                    <a:pt x="1" y="1"/>
                  </a:moveTo>
                  <a:lnTo>
                    <a:pt x="360" y="6755"/>
                  </a:lnTo>
                  <a:lnTo>
                    <a:pt x="2998" y="3918"/>
                  </a:lnTo>
                  <a:cubicBezTo>
                    <a:pt x="2998" y="3918"/>
                    <a:pt x="840" y="920"/>
                    <a:pt x="1" y="1"/>
                  </a:cubicBezTo>
                  <a:close/>
                </a:path>
              </a:pathLst>
            </a:custGeom>
            <a:solidFill>
              <a:srgbClr val="2120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" name="Google Shape;504;p36">
              <a:extLst>
                <a:ext uri="{FF2B5EF4-FFF2-40B4-BE49-F238E27FC236}">
                  <a16:creationId xmlns:a16="http://schemas.microsoft.com/office/drawing/2014/main" id="{46B1B9B2-95BD-421A-B233-C26C8DCD84D1}"/>
                </a:ext>
              </a:extLst>
            </p:cNvPr>
            <p:cNvSpPr/>
            <p:nvPr/>
          </p:nvSpPr>
          <p:spPr>
            <a:xfrm>
              <a:off x="6769254" y="1331418"/>
              <a:ext cx="326720" cy="301375"/>
            </a:xfrm>
            <a:custGeom>
              <a:avLst/>
              <a:gdLst/>
              <a:ahLst/>
              <a:cxnLst/>
              <a:rect l="l" t="t" r="r" b="b"/>
              <a:pathLst>
                <a:path w="19465" h="17955" extrusionOk="0">
                  <a:moveTo>
                    <a:pt x="8427" y="1"/>
                  </a:moveTo>
                  <a:cubicBezTo>
                    <a:pt x="7223" y="1"/>
                    <a:pt x="5992" y="231"/>
                    <a:pt x="4797" y="808"/>
                  </a:cubicBezTo>
                  <a:cubicBezTo>
                    <a:pt x="1999" y="2167"/>
                    <a:pt x="200" y="4925"/>
                    <a:pt x="80" y="8042"/>
                  </a:cubicBezTo>
                  <a:cubicBezTo>
                    <a:pt x="0" y="10400"/>
                    <a:pt x="360" y="13798"/>
                    <a:pt x="2079" y="17954"/>
                  </a:cubicBezTo>
                  <a:lnTo>
                    <a:pt x="7474" y="12918"/>
                  </a:lnTo>
                  <a:lnTo>
                    <a:pt x="8953" y="13997"/>
                  </a:lnTo>
                  <a:lnTo>
                    <a:pt x="12111" y="11080"/>
                  </a:lnTo>
                  <a:cubicBezTo>
                    <a:pt x="12111" y="11080"/>
                    <a:pt x="19465" y="10041"/>
                    <a:pt x="17426" y="3526"/>
                  </a:cubicBezTo>
                  <a:cubicBezTo>
                    <a:pt x="17426" y="3526"/>
                    <a:pt x="13140" y="1"/>
                    <a:pt x="8427" y="1"/>
                  </a:cubicBezTo>
                  <a:close/>
                </a:path>
              </a:pathLst>
            </a:custGeom>
            <a:solidFill>
              <a:srgbClr val="2120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" name="Google Shape;505;p36">
              <a:extLst>
                <a:ext uri="{FF2B5EF4-FFF2-40B4-BE49-F238E27FC236}">
                  <a16:creationId xmlns:a16="http://schemas.microsoft.com/office/drawing/2014/main" id="{BE5476C1-96E8-45BF-8476-1DC7C3C1ABE5}"/>
                </a:ext>
              </a:extLst>
            </p:cNvPr>
            <p:cNvSpPr/>
            <p:nvPr/>
          </p:nvSpPr>
          <p:spPr>
            <a:xfrm>
              <a:off x="7078501" y="1597196"/>
              <a:ext cx="48895" cy="86040"/>
            </a:xfrm>
            <a:custGeom>
              <a:avLst/>
              <a:gdLst/>
              <a:ahLst/>
              <a:cxnLst/>
              <a:rect l="l" t="t" r="r" b="b"/>
              <a:pathLst>
                <a:path w="2913" h="5126" extrusionOk="0">
                  <a:moveTo>
                    <a:pt x="1679" y="1"/>
                  </a:moveTo>
                  <a:lnTo>
                    <a:pt x="0" y="4437"/>
                  </a:lnTo>
                  <a:lnTo>
                    <a:pt x="1559" y="5117"/>
                  </a:lnTo>
                  <a:cubicBezTo>
                    <a:pt x="1579" y="5123"/>
                    <a:pt x="1599" y="5125"/>
                    <a:pt x="1621" y="5125"/>
                  </a:cubicBezTo>
                  <a:cubicBezTo>
                    <a:pt x="2050" y="5125"/>
                    <a:pt x="2912" y="4058"/>
                    <a:pt x="2798" y="3678"/>
                  </a:cubicBezTo>
                  <a:lnTo>
                    <a:pt x="1679" y="1"/>
                  </a:lnTo>
                  <a:close/>
                </a:path>
              </a:pathLst>
            </a:custGeom>
            <a:solidFill>
              <a:srgbClr val="E5A89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" name="Google Shape;506;p36">
              <a:extLst>
                <a:ext uri="{FF2B5EF4-FFF2-40B4-BE49-F238E27FC236}">
                  <a16:creationId xmlns:a16="http://schemas.microsoft.com/office/drawing/2014/main" id="{5530CC0E-534B-4D79-A56F-5F6FF087F39F}"/>
                </a:ext>
              </a:extLst>
            </p:cNvPr>
            <p:cNvSpPr/>
            <p:nvPr/>
          </p:nvSpPr>
          <p:spPr>
            <a:xfrm>
              <a:off x="6811583" y="1495232"/>
              <a:ext cx="130101" cy="108112"/>
            </a:xfrm>
            <a:custGeom>
              <a:avLst/>
              <a:gdLst/>
              <a:ahLst/>
              <a:cxnLst/>
              <a:rect l="l" t="t" r="r" b="b"/>
              <a:pathLst>
                <a:path w="7751" h="6441" extrusionOk="0">
                  <a:moveTo>
                    <a:pt x="3522" y="0"/>
                  </a:moveTo>
                  <a:cubicBezTo>
                    <a:pt x="1961" y="0"/>
                    <a:pt x="572" y="1132"/>
                    <a:pt x="356" y="2719"/>
                  </a:cubicBezTo>
                  <a:cubicBezTo>
                    <a:pt x="1" y="4821"/>
                    <a:pt x="1685" y="6440"/>
                    <a:pt x="3524" y="6440"/>
                  </a:cubicBezTo>
                  <a:cubicBezTo>
                    <a:pt x="4168" y="6440"/>
                    <a:pt x="4831" y="6242"/>
                    <a:pt x="5432" y="5796"/>
                  </a:cubicBezTo>
                  <a:cubicBezTo>
                    <a:pt x="7750" y="4117"/>
                    <a:pt x="6871" y="480"/>
                    <a:pt x="4033" y="41"/>
                  </a:cubicBezTo>
                  <a:cubicBezTo>
                    <a:pt x="3862" y="13"/>
                    <a:pt x="3691" y="0"/>
                    <a:pt x="3522" y="0"/>
                  </a:cubicBezTo>
                  <a:close/>
                </a:path>
              </a:pathLst>
            </a:custGeom>
            <a:solidFill>
              <a:srgbClr val="E5A89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" name="Google Shape;507;p36">
              <a:extLst>
                <a:ext uri="{FF2B5EF4-FFF2-40B4-BE49-F238E27FC236}">
                  <a16:creationId xmlns:a16="http://schemas.microsoft.com/office/drawing/2014/main" id="{816256F6-B906-48E9-9A26-72D9A794F00D}"/>
                </a:ext>
              </a:extLst>
            </p:cNvPr>
            <p:cNvSpPr/>
            <p:nvPr/>
          </p:nvSpPr>
          <p:spPr>
            <a:xfrm>
              <a:off x="6859149" y="1524251"/>
              <a:ext cx="33553" cy="50825"/>
            </a:xfrm>
            <a:custGeom>
              <a:avLst/>
              <a:gdLst/>
              <a:ahLst/>
              <a:cxnLst/>
              <a:rect l="l" t="t" r="r" b="b"/>
              <a:pathLst>
                <a:path w="1999" h="3028" extrusionOk="0">
                  <a:moveTo>
                    <a:pt x="140" y="0"/>
                  </a:moveTo>
                  <a:cubicBezTo>
                    <a:pt x="100" y="0"/>
                    <a:pt x="60" y="10"/>
                    <a:pt x="40" y="30"/>
                  </a:cubicBezTo>
                  <a:cubicBezTo>
                    <a:pt x="0" y="110"/>
                    <a:pt x="0" y="190"/>
                    <a:pt x="40" y="270"/>
                  </a:cubicBezTo>
                  <a:cubicBezTo>
                    <a:pt x="1639" y="1469"/>
                    <a:pt x="1159" y="2788"/>
                    <a:pt x="1159" y="2868"/>
                  </a:cubicBezTo>
                  <a:cubicBezTo>
                    <a:pt x="1119" y="2908"/>
                    <a:pt x="1159" y="2988"/>
                    <a:pt x="1239" y="3028"/>
                  </a:cubicBezTo>
                  <a:lnTo>
                    <a:pt x="1279" y="3028"/>
                  </a:lnTo>
                  <a:cubicBezTo>
                    <a:pt x="1359" y="3028"/>
                    <a:pt x="1399" y="3028"/>
                    <a:pt x="1439" y="2988"/>
                  </a:cubicBezTo>
                  <a:cubicBezTo>
                    <a:pt x="1439" y="2948"/>
                    <a:pt x="1998" y="1389"/>
                    <a:pt x="240" y="30"/>
                  </a:cubicBezTo>
                  <a:cubicBezTo>
                    <a:pt x="220" y="10"/>
                    <a:pt x="180" y="0"/>
                    <a:pt x="140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" name="Google Shape;508;p36">
              <a:extLst>
                <a:ext uri="{FF2B5EF4-FFF2-40B4-BE49-F238E27FC236}">
                  <a16:creationId xmlns:a16="http://schemas.microsoft.com/office/drawing/2014/main" id="{7904A995-E688-4882-AD19-D61B4FB6F09E}"/>
                </a:ext>
              </a:extLst>
            </p:cNvPr>
            <p:cNvSpPr/>
            <p:nvPr/>
          </p:nvSpPr>
          <p:spPr>
            <a:xfrm>
              <a:off x="6902939" y="1277356"/>
              <a:ext cx="74962" cy="61618"/>
            </a:xfrm>
            <a:custGeom>
              <a:avLst/>
              <a:gdLst/>
              <a:ahLst/>
              <a:cxnLst/>
              <a:rect l="l" t="t" r="r" b="b"/>
              <a:pathLst>
                <a:path w="4466" h="3671" extrusionOk="0">
                  <a:moveTo>
                    <a:pt x="2109" y="0"/>
                  </a:moveTo>
                  <a:cubicBezTo>
                    <a:pt x="1302" y="0"/>
                    <a:pt x="580" y="526"/>
                    <a:pt x="349" y="1351"/>
                  </a:cubicBezTo>
                  <a:cubicBezTo>
                    <a:pt x="0" y="2586"/>
                    <a:pt x="981" y="3670"/>
                    <a:pt x="2119" y="3670"/>
                  </a:cubicBezTo>
                  <a:cubicBezTo>
                    <a:pt x="2418" y="3670"/>
                    <a:pt x="2727" y="3596"/>
                    <a:pt x="3026" y="3430"/>
                  </a:cubicBezTo>
                  <a:cubicBezTo>
                    <a:pt x="4465" y="2630"/>
                    <a:pt x="4186" y="472"/>
                    <a:pt x="2627" y="72"/>
                  </a:cubicBezTo>
                  <a:cubicBezTo>
                    <a:pt x="2453" y="24"/>
                    <a:pt x="2279" y="0"/>
                    <a:pt x="2109" y="0"/>
                  </a:cubicBezTo>
                  <a:close/>
                </a:path>
              </a:pathLst>
            </a:custGeom>
            <a:solidFill>
              <a:srgbClr val="4DA2C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" name="Google Shape;509;p36">
              <a:extLst>
                <a:ext uri="{FF2B5EF4-FFF2-40B4-BE49-F238E27FC236}">
                  <a16:creationId xmlns:a16="http://schemas.microsoft.com/office/drawing/2014/main" id="{1E96959B-5818-45AE-A58B-0A1BA51C380F}"/>
                </a:ext>
              </a:extLst>
            </p:cNvPr>
            <p:cNvSpPr/>
            <p:nvPr/>
          </p:nvSpPr>
          <p:spPr>
            <a:xfrm>
              <a:off x="7123448" y="1428162"/>
              <a:ext cx="209997" cy="50993"/>
            </a:xfrm>
            <a:custGeom>
              <a:avLst/>
              <a:gdLst/>
              <a:ahLst/>
              <a:cxnLst/>
              <a:rect l="l" t="t" r="r" b="b"/>
              <a:pathLst>
                <a:path w="12511" h="3038" extrusionOk="0">
                  <a:moveTo>
                    <a:pt x="0" y="0"/>
                  </a:moveTo>
                  <a:lnTo>
                    <a:pt x="2278" y="2918"/>
                  </a:lnTo>
                  <a:lnTo>
                    <a:pt x="11511" y="3038"/>
                  </a:lnTo>
                  <a:cubicBezTo>
                    <a:pt x="12110" y="3038"/>
                    <a:pt x="12510" y="2478"/>
                    <a:pt x="12390" y="1919"/>
                  </a:cubicBezTo>
                  <a:cubicBezTo>
                    <a:pt x="12310" y="1519"/>
                    <a:pt x="11951" y="1239"/>
                    <a:pt x="11551" y="119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4DA2C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" name="Google Shape;510;p36">
              <a:extLst>
                <a:ext uri="{FF2B5EF4-FFF2-40B4-BE49-F238E27FC236}">
                  <a16:creationId xmlns:a16="http://schemas.microsoft.com/office/drawing/2014/main" id="{8736CF8A-C7B7-4FC3-A1BC-30DC19ECF49A}"/>
                </a:ext>
              </a:extLst>
            </p:cNvPr>
            <p:cNvSpPr/>
            <p:nvPr/>
          </p:nvSpPr>
          <p:spPr>
            <a:xfrm>
              <a:off x="6755834" y="1300904"/>
              <a:ext cx="405878" cy="176233"/>
            </a:xfrm>
            <a:custGeom>
              <a:avLst/>
              <a:gdLst/>
              <a:ahLst/>
              <a:cxnLst/>
              <a:rect l="l" t="t" r="r" b="b"/>
              <a:pathLst>
                <a:path w="24181" h="10476" extrusionOk="0">
                  <a:moveTo>
                    <a:pt x="11040" y="0"/>
                  </a:moveTo>
                  <a:cubicBezTo>
                    <a:pt x="977" y="0"/>
                    <a:pt x="0" y="10196"/>
                    <a:pt x="0" y="10196"/>
                  </a:cubicBezTo>
                  <a:lnTo>
                    <a:pt x="24180" y="10476"/>
                  </a:lnTo>
                  <a:cubicBezTo>
                    <a:pt x="24180" y="10476"/>
                    <a:pt x="21782" y="204"/>
                    <a:pt x="11391" y="4"/>
                  </a:cubicBezTo>
                  <a:cubicBezTo>
                    <a:pt x="11273" y="1"/>
                    <a:pt x="11156" y="0"/>
                    <a:pt x="11040" y="0"/>
                  </a:cubicBezTo>
                  <a:close/>
                </a:path>
              </a:pathLst>
            </a:custGeom>
            <a:solidFill>
              <a:srgbClr val="4DA2C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" name="Google Shape;511;p36">
              <a:extLst>
                <a:ext uri="{FF2B5EF4-FFF2-40B4-BE49-F238E27FC236}">
                  <a16:creationId xmlns:a16="http://schemas.microsoft.com/office/drawing/2014/main" id="{04384625-5FD3-4D16-9B8D-5784532B0ED2}"/>
                </a:ext>
              </a:extLst>
            </p:cNvPr>
            <p:cNvSpPr/>
            <p:nvPr/>
          </p:nvSpPr>
          <p:spPr>
            <a:xfrm>
              <a:off x="7066433" y="1583684"/>
              <a:ext cx="32647" cy="27947"/>
            </a:xfrm>
            <a:custGeom>
              <a:avLst/>
              <a:gdLst/>
              <a:ahLst/>
              <a:cxnLst/>
              <a:rect l="l" t="t" r="r" b="b"/>
              <a:pathLst>
                <a:path w="1945" h="1665" extrusionOk="0">
                  <a:moveTo>
                    <a:pt x="934" y="1"/>
                  </a:moveTo>
                  <a:cubicBezTo>
                    <a:pt x="632" y="1"/>
                    <a:pt x="334" y="161"/>
                    <a:pt x="200" y="486"/>
                  </a:cubicBezTo>
                  <a:cubicBezTo>
                    <a:pt x="0" y="886"/>
                    <a:pt x="160" y="1405"/>
                    <a:pt x="600" y="1565"/>
                  </a:cubicBezTo>
                  <a:cubicBezTo>
                    <a:pt x="722" y="1634"/>
                    <a:pt x="849" y="1665"/>
                    <a:pt x="972" y="1665"/>
                  </a:cubicBezTo>
                  <a:cubicBezTo>
                    <a:pt x="1492" y="1665"/>
                    <a:pt x="1945" y="1115"/>
                    <a:pt x="1719" y="566"/>
                  </a:cubicBezTo>
                  <a:cubicBezTo>
                    <a:pt x="1594" y="191"/>
                    <a:pt x="1262" y="1"/>
                    <a:pt x="934" y="1"/>
                  </a:cubicBezTo>
                  <a:close/>
                </a:path>
              </a:pathLst>
            </a:custGeom>
            <a:solidFill>
              <a:srgbClr val="2120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" name="Google Shape;512;p36">
              <a:extLst>
                <a:ext uri="{FF2B5EF4-FFF2-40B4-BE49-F238E27FC236}">
                  <a16:creationId xmlns:a16="http://schemas.microsoft.com/office/drawing/2014/main" id="{894C7FB5-9AC4-475C-B509-FDF607BD23E9}"/>
                </a:ext>
              </a:extLst>
            </p:cNvPr>
            <p:cNvSpPr/>
            <p:nvPr/>
          </p:nvSpPr>
          <p:spPr>
            <a:xfrm>
              <a:off x="7028182" y="1516699"/>
              <a:ext cx="87903" cy="27527"/>
            </a:xfrm>
            <a:custGeom>
              <a:avLst/>
              <a:gdLst/>
              <a:ahLst/>
              <a:cxnLst/>
              <a:rect l="l" t="t" r="r" b="b"/>
              <a:pathLst>
                <a:path w="5237" h="1640" extrusionOk="0">
                  <a:moveTo>
                    <a:pt x="2639" y="1"/>
                  </a:moveTo>
                  <a:cubicBezTo>
                    <a:pt x="1520" y="41"/>
                    <a:pt x="520" y="680"/>
                    <a:pt x="1" y="1639"/>
                  </a:cubicBezTo>
                  <a:lnTo>
                    <a:pt x="5237" y="1599"/>
                  </a:lnTo>
                  <a:cubicBezTo>
                    <a:pt x="4717" y="640"/>
                    <a:pt x="3718" y="1"/>
                    <a:pt x="2639" y="1"/>
                  </a:cubicBezTo>
                  <a:close/>
                </a:path>
              </a:pathLst>
            </a:custGeom>
            <a:solidFill>
              <a:srgbClr val="21202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" name="Google Shape;513;p36">
              <a:extLst>
                <a:ext uri="{FF2B5EF4-FFF2-40B4-BE49-F238E27FC236}">
                  <a16:creationId xmlns:a16="http://schemas.microsoft.com/office/drawing/2014/main" id="{2B76EA1C-A4FB-43A5-9715-B9B92B0D18CE}"/>
                </a:ext>
              </a:extLst>
            </p:cNvPr>
            <p:cNvSpPr/>
            <p:nvPr/>
          </p:nvSpPr>
          <p:spPr>
            <a:xfrm>
              <a:off x="6887984" y="1603909"/>
              <a:ext cx="244876" cy="176259"/>
            </a:xfrm>
            <a:custGeom>
              <a:avLst/>
              <a:gdLst/>
              <a:ahLst/>
              <a:cxnLst/>
              <a:rect l="l" t="t" r="r" b="b"/>
              <a:pathLst>
                <a:path w="14589" h="10501" extrusionOk="0">
                  <a:moveTo>
                    <a:pt x="2479" y="1"/>
                  </a:moveTo>
                  <a:lnTo>
                    <a:pt x="1" y="4597"/>
                  </a:lnTo>
                  <a:lnTo>
                    <a:pt x="3398" y="9073"/>
                  </a:lnTo>
                  <a:cubicBezTo>
                    <a:pt x="4565" y="10084"/>
                    <a:pt x="5773" y="10501"/>
                    <a:pt x="6954" y="10501"/>
                  </a:cubicBezTo>
                  <a:cubicBezTo>
                    <a:pt x="9694" y="10501"/>
                    <a:pt x="12289" y="8258"/>
                    <a:pt x="13909" y="5996"/>
                  </a:cubicBezTo>
                  <a:cubicBezTo>
                    <a:pt x="14589" y="4957"/>
                    <a:pt x="14349" y="4437"/>
                    <a:pt x="14229" y="3078"/>
                  </a:cubicBezTo>
                  <a:cubicBezTo>
                    <a:pt x="10152" y="2718"/>
                    <a:pt x="6196" y="1679"/>
                    <a:pt x="2479" y="1"/>
                  </a:cubicBezTo>
                  <a:close/>
                </a:path>
              </a:pathLst>
            </a:custGeom>
            <a:solidFill>
              <a:srgbClr val="FDFBF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" name="Google Shape;514;p36">
              <a:extLst>
                <a:ext uri="{FF2B5EF4-FFF2-40B4-BE49-F238E27FC236}">
                  <a16:creationId xmlns:a16="http://schemas.microsoft.com/office/drawing/2014/main" id="{345732CB-8CD6-469B-B294-19A8449B5E02}"/>
                </a:ext>
              </a:extLst>
            </p:cNvPr>
            <p:cNvSpPr/>
            <p:nvPr/>
          </p:nvSpPr>
          <p:spPr>
            <a:xfrm>
              <a:off x="6918179" y="1561647"/>
              <a:ext cx="16114" cy="79175"/>
            </a:xfrm>
            <a:custGeom>
              <a:avLst/>
              <a:gdLst/>
              <a:ahLst/>
              <a:cxnLst/>
              <a:rect l="l" t="t" r="r" b="b"/>
              <a:pathLst>
                <a:path w="960" h="4717" extrusionOk="0">
                  <a:moveTo>
                    <a:pt x="560" y="1"/>
                  </a:moveTo>
                  <a:lnTo>
                    <a:pt x="0" y="41"/>
                  </a:lnTo>
                  <a:lnTo>
                    <a:pt x="400" y="4717"/>
                  </a:lnTo>
                  <a:lnTo>
                    <a:pt x="959" y="4677"/>
                  </a:lnTo>
                  <a:lnTo>
                    <a:pt x="560" y="1"/>
                  </a:lnTo>
                  <a:close/>
                </a:path>
              </a:pathLst>
            </a:custGeom>
            <a:solidFill>
              <a:srgbClr val="FDFBF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" name="Google Shape;515;p36">
              <a:extLst>
                <a:ext uri="{FF2B5EF4-FFF2-40B4-BE49-F238E27FC236}">
                  <a16:creationId xmlns:a16="http://schemas.microsoft.com/office/drawing/2014/main" id="{508DFC04-3AC3-41FB-AB91-59D8E2A04EE4}"/>
                </a:ext>
              </a:extLst>
            </p:cNvPr>
            <p:cNvSpPr/>
            <p:nvPr/>
          </p:nvSpPr>
          <p:spPr>
            <a:xfrm>
              <a:off x="6838354" y="1597867"/>
              <a:ext cx="58378" cy="84546"/>
            </a:xfrm>
            <a:custGeom>
              <a:avLst/>
              <a:gdLst/>
              <a:ahLst/>
              <a:cxnLst/>
              <a:rect l="l" t="t" r="r" b="b"/>
              <a:pathLst>
                <a:path w="3478" h="5037" extrusionOk="0">
                  <a:moveTo>
                    <a:pt x="480" y="1"/>
                  </a:moveTo>
                  <a:lnTo>
                    <a:pt x="0" y="281"/>
                  </a:lnTo>
                  <a:lnTo>
                    <a:pt x="2998" y="5037"/>
                  </a:lnTo>
                  <a:lnTo>
                    <a:pt x="3477" y="4717"/>
                  </a:lnTo>
                  <a:lnTo>
                    <a:pt x="480" y="1"/>
                  </a:lnTo>
                  <a:close/>
                </a:path>
              </a:pathLst>
            </a:custGeom>
            <a:solidFill>
              <a:srgbClr val="FDFBF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3" name="TextBox 102"/>
          <p:cNvSpPr txBox="1"/>
          <p:nvPr/>
        </p:nvSpPr>
        <p:spPr>
          <a:xfrm>
            <a:off x="1163974" y="4035139"/>
            <a:ext cx="366339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dirty="0" smtClean="0">
                <a:latin typeface="Impact" panose="020B0806030902050204" pitchFamily="34" charset="0"/>
              </a:rPr>
              <a:t>Die Straße im Blick </a:t>
            </a:r>
            <a:endParaRPr lang="en-US" sz="1600" dirty="0">
              <a:latin typeface="Impact" panose="020B080603090205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8160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265;p28">
            <a:extLst>
              <a:ext uri="{FF2B5EF4-FFF2-40B4-BE49-F238E27FC236}">
                <a16:creationId xmlns:a16="http://schemas.microsoft.com/office/drawing/2014/main" id="{A40B0B38-A84C-49D4-8ADC-44235CCEE421}"/>
              </a:ext>
            </a:extLst>
          </p:cNvPr>
          <p:cNvSpPr txBox="1">
            <a:spLocks/>
          </p:cNvSpPr>
          <p:nvPr/>
        </p:nvSpPr>
        <p:spPr>
          <a:xfrm>
            <a:off x="1196256" y="2046744"/>
            <a:ext cx="3302539" cy="584776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lvl="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685800" lvl="1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143000" lvl="2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600200" lvl="3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057400" lvl="4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514600" lvl="5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2971800" lvl="6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429000" lvl="7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3886200" lvl="8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1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r>
              <a:rPr lang="de-DE" sz="3600" dirty="0">
                <a:solidFill>
                  <a:srgbClr val="FB8441"/>
                </a:solidFill>
                <a:latin typeface="Oswald" pitchFamily="2" charset="0"/>
              </a:rPr>
              <a:t>Navigation</a:t>
            </a:r>
            <a:endParaRPr lang="de-DE" sz="3200" dirty="0">
              <a:solidFill>
                <a:srgbClr val="FB8441"/>
              </a:solidFill>
              <a:latin typeface="Oswald" pitchFamily="2" charset="0"/>
            </a:endParaRPr>
          </a:p>
        </p:txBody>
      </p:sp>
      <p:sp>
        <p:nvSpPr>
          <p:cNvPr id="20" name="Parallelogram 2">
            <a:extLst>
              <a:ext uri="{FF2B5EF4-FFF2-40B4-BE49-F238E27FC236}">
                <a16:creationId xmlns:a16="http://schemas.microsoft.com/office/drawing/2014/main" id="{44251761-035C-4229-825C-E0DA663EE0C2}"/>
              </a:ext>
            </a:extLst>
          </p:cNvPr>
          <p:cNvSpPr/>
          <p:nvPr/>
        </p:nvSpPr>
        <p:spPr>
          <a:xfrm>
            <a:off x="739135" y="2046744"/>
            <a:ext cx="449112" cy="584775"/>
          </a:xfrm>
          <a:prstGeom prst="parallelogram">
            <a:avLst>
              <a:gd name="adj" fmla="val 48158"/>
            </a:avLst>
          </a:prstGeom>
          <a:solidFill>
            <a:srgbClr val="F6B2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>
              <a:solidFill>
                <a:schemeClr val="bg1"/>
              </a:solidFill>
            </a:endParaRPr>
          </a:p>
        </p:txBody>
      </p:sp>
      <p:sp>
        <p:nvSpPr>
          <p:cNvPr id="23" name="Google Shape;265;p28">
            <a:extLst>
              <a:ext uri="{FF2B5EF4-FFF2-40B4-BE49-F238E27FC236}">
                <a16:creationId xmlns:a16="http://schemas.microsoft.com/office/drawing/2014/main" id="{E0E909FD-85C3-48CF-808D-2133F1D7443E}"/>
              </a:ext>
            </a:extLst>
          </p:cNvPr>
          <p:cNvSpPr txBox="1">
            <a:spLocks/>
          </p:cNvSpPr>
          <p:nvPr/>
        </p:nvSpPr>
        <p:spPr>
          <a:xfrm>
            <a:off x="1204265" y="3124919"/>
            <a:ext cx="4356726" cy="584776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lvl="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685800" lvl="1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143000" lvl="2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600200" lvl="3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057400" lvl="4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514600" lvl="5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2971800" lvl="6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429000" lvl="7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3886200" lvl="8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1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r>
              <a:rPr lang="de-DE" sz="3600" dirty="0">
                <a:solidFill>
                  <a:srgbClr val="FB8441"/>
                </a:solidFill>
                <a:latin typeface="Oswald" pitchFamily="2" charset="0"/>
              </a:rPr>
              <a:t>Risikofrüherkennung</a:t>
            </a:r>
            <a:endParaRPr lang="de-DE" sz="3200" dirty="0">
              <a:solidFill>
                <a:srgbClr val="FB8441"/>
              </a:solidFill>
              <a:latin typeface="Oswald" pitchFamily="2" charset="0"/>
            </a:endParaRPr>
          </a:p>
        </p:txBody>
      </p:sp>
      <p:sp>
        <p:nvSpPr>
          <p:cNvPr id="24" name="Parallelogram 2">
            <a:extLst>
              <a:ext uri="{FF2B5EF4-FFF2-40B4-BE49-F238E27FC236}">
                <a16:creationId xmlns:a16="http://schemas.microsoft.com/office/drawing/2014/main" id="{6725F33F-DA34-43CF-B2CF-3FD44E6CC76B}"/>
              </a:ext>
            </a:extLst>
          </p:cNvPr>
          <p:cNvSpPr/>
          <p:nvPr/>
        </p:nvSpPr>
        <p:spPr>
          <a:xfrm>
            <a:off x="747144" y="3124919"/>
            <a:ext cx="449112" cy="584775"/>
          </a:xfrm>
          <a:prstGeom prst="parallelogram">
            <a:avLst>
              <a:gd name="adj" fmla="val 48158"/>
            </a:avLst>
          </a:prstGeom>
          <a:solidFill>
            <a:srgbClr val="F6B2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>
              <a:solidFill>
                <a:schemeClr val="bg1"/>
              </a:solidFill>
            </a:endParaRPr>
          </a:p>
        </p:txBody>
      </p:sp>
      <p:sp>
        <p:nvSpPr>
          <p:cNvPr id="25" name="Google Shape;265;p28">
            <a:extLst>
              <a:ext uri="{FF2B5EF4-FFF2-40B4-BE49-F238E27FC236}">
                <a16:creationId xmlns:a16="http://schemas.microsoft.com/office/drawing/2014/main" id="{A724CF99-FD29-47FB-A395-CB11008A118A}"/>
              </a:ext>
            </a:extLst>
          </p:cNvPr>
          <p:cNvSpPr txBox="1">
            <a:spLocks/>
          </p:cNvSpPr>
          <p:nvPr/>
        </p:nvSpPr>
        <p:spPr>
          <a:xfrm>
            <a:off x="1196256" y="4203093"/>
            <a:ext cx="3629956" cy="584776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lvl="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685800" lvl="1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143000" lvl="2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600200" lvl="3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057400" lvl="4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514600" lvl="5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2971800" lvl="6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429000" lvl="7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3886200" lvl="8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1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r>
              <a:rPr lang="de-DE" sz="3600" dirty="0">
                <a:solidFill>
                  <a:srgbClr val="FB8441"/>
                </a:solidFill>
                <a:latin typeface="Oswald" pitchFamily="2" charset="0"/>
              </a:rPr>
              <a:t>Schnittstellen</a:t>
            </a:r>
            <a:endParaRPr lang="de-DE" sz="3200" dirty="0">
              <a:solidFill>
                <a:srgbClr val="FB8441"/>
              </a:solidFill>
              <a:latin typeface="Oswald" pitchFamily="2" charset="0"/>
            </a:endParaRPr>
          </a:p>
        </p:txBody>
      </p:sp>
      <p:sp>
        <p:nvSpPr>
          <p:cNvPr id="26" name="Parallelogram 2">
            <a:extLst>
              <a:ext uri="{FF2B5EF4-FFF2-40B4-BE49-F238E27FC236}">
                <a16:creationId xmlns:a16="http://schemas.microsoft.com/office/drawing/2014/main" id="{89AEC690-BAB9-4395-AC27-687E41ED51F5}"/>
              </a:ext>
            </a:extLst>
          </p:cNvPr>
          <p:cNvSpPr/>
          <p:nvPr/>
        </p:nvSpPr>
        <p:spPr>
          <a:xfrm>
            <a:off x="739135" y="4203093"/>
            <a:ext cx="449112" cy="584775"/>
          </a:xfrm>
          <a:prstGeom prst="parallelogram">
            <a:avLst>
              <a:gd name="adj" fmla="val 48158"/>
            </a:avLst>
          </a:prstGeom>
          <a:solidFill>
            <a:srgbClr val="F6B2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>
              <a:solidFill>
                <a:schemeClr val="bg1"/>
              </a:solidFill>
            </a:endParaRPr>
          </a:p>
        </p:txBody>
      </p:sp>
      <p:sp>
        <p:nvSpPr>
          <p:cNvPr id="16" name="Google Shape;542;p38"/>
          <p:cNvSpPr txBox="1">
            <a:spLocks/>
          </p:cNvSpPr>
          <p:nvPr/>
        </p:nvSpPr>
        <p:spPr>
          <a:xfrm>
            <a:off x="739135" y="629939"/>
            <a:ext cx="5481862" cy="688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800" dirty="0" err="1" smtClean="0">
                <a:solidFill>
                  <a:srgbClr val="4DA2CF"/>
                </a:solidFill>
                <a:latin typeface="Oswald" pitchFamily="2" charset="0"/>
              </a:rPr>
              <a:t>Sicherheitsfeatures</a:t>
            </a:r>
            <a:endParaRPr lang="en-US" sz="4800" dirty="0">
              <a:solidFill>
                <a:srgbClr val="4DA2CF"/>
              </a:solidFill>
              <a:latin typeface="Oswald" pitchFamily="2" charset="0"/>
            </a:endParaRPr>
          </a:p>
        </p:txBody>
      </p:sp>
      <p:sp>
        <p:nvSpPr>
          <p:cNvPr id="18" name="Google Shape;542;p38"/>
          <p:cNvSpPr txBox="1">
            <a:spLocks/>
          </p:cNvSpPr>
          <p:nvPr/>
        </p:nvSpPr>
        <p:spPr>
          <a:xfrm>
            <a:off x="8393472" y="629939"/>
            <a:ext cx="2876123" cy="688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800" dirty="0" smtClean="0">
                <a:solidFill>
                  <a:srgbClr val="4DA2CF"/>
                </a:solidFill>
                <a:latin typeface="Oswald" pitchFamily="2" charset="0"/>
              </a:rPr>
              <a:t>App</a:t>
            </a:r>
            <a:endParaRPr lang="en-US" sz="4800" dirty="0">
              <a:solidFill>
                <a:srgbClr val="4DA2CF"/>
              </a:solidFill>
              <a:latin typeface="Oswald" pitchFamily="2" charset="0"/>
            </a:endParaRPr>
          </a:p>
        </p:txBody>
      </p:sp>
      <p:pic>
        <p:nvPicPr>
          <p:cNvPr id="19" name="Grafik 2">
            <a:extLst>
              <a:ext uri="{FF2B5EF4-FFF2-40B4-BE49-F238E27FC236}">
                <a16:creationId xmlns:a16="http://schemas.microsoft.com/office/drawing/2014/main" id="{74B74B60-83CD-427B-B6DC-5612A3C930F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85" b="9185"/>
          <a:stretch/>
        </p:blipFill>
        <p:spPr>
          <a:xfrm>
            <a:off x="6096000" y="1536569"/>
            <a:ext cx="5845688" cy="4771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18512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23" grpId="0"/>
      <p:bldP spid="25" grpId="0"/>
      <p:bldP spid="18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4">
            <a:extLst>
              <a:ext uri="{FF2B5EF4-FFF2-40B4-BE49-F238E27FC236}">
                <a16:creationId xmlns:a16="http://schemas.microsoft.com/office/drawing/2014/main" id="{DF51F554-5A21-4AB1-BC39-3A7C2C05DD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520430" y="891995"/>
            <a:ext cx="3732614" cy="5322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5">
            <a:extLst>
              <a:ext uri="{FF2B5EF4-FFF2-40B4-BE49-F238E27FC236}">
                <a16:creationId xmlns:a16="http://schemas.microsoft.com/office/drawing/2014/main" id="{124FA3D2-1CEC-491B-890B-9023A780573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819"/>
          <a:stretch/>
        </p:blipFill>
        <p:spPr bwMode="auto">
          <a:xfrm>
            <a:off x="5736236" y="891995"/>
            <a:ext cx="5291667" cy="5322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4304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2644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8" name="think-cell Slide" r:id="rId5" imgW="233" imgH="233" progId="TCLayout.ActiveDocument.1">
                  <p:embed/>
                </p:oleObj>
              </mc:Choice>
              <mc:Fallback>
                <p:oleObj name="think-cell Slide" r:id="rId5" imgW="233" imgH="23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Google Shape;1073;p55"/>
          <p:cNvSpPr/>
          <p:nvPr/>
        </p:nvSpPr>
        <p:spPr>
          <a:xfrm flipH="1">
            <a:off x="1692633" y="3353378"/>
            <a:ext cx="1094324" cy="696588"/>
          </a:xfrm>
          <a:custGeom>
            <a:avLst/>
            <a:gdLst/>
            <a:ahLst/>
            <a:cxnLst/>
            <a:rect l="l" t="t" r="r" b="b"/>
            <a:pathLst>
              <a:path w="156780" h="99750" extrusionOk="0">
                <a:moveTo>
                  <a:pt x="78442" y="1"/>
                </a:moveTo>
                <a:cubicBezTo>
                  <a:pt x="38913" y="1"/>
                  <a:pt x="0" y="20209"/>
                  <a:pt x="10798" y="53477"/>
                </a:cubicBezTo>
                <a:cubicBezTo>
                  <a:pt x="16027" y="69606"/>
                  <a:pt x="25323" y="73597"/>
                  <a:pt x="36170" y="73597"/>
                </a:cubicBezTo>
                <a:cubicBezTo>
                  <a:pt x="46794" y="73597"/>
                  <a:pt x="58906" y="69768"/>
                  <a:pt x="70140" y="69768"/>
                </a:cubicBezTo>
                <a:cubicBezTo>
                  <a:pt x="75093" y="69768"/>
                  <a:pt x="79875" y="70512"/>
                  <a:pt x="84284" y="72657"/>
                </a:cubicBezTo>
                <a:cubicBezTo>
                  <a:pt x="98093" y="79362"/>
                  <a:pt x="96492" y="99276"/>
                  <a:pt x="116673" y="99743"/>
                </a:cubicBezTo>
                <a:cubicBezTo>
                  <a:pt x="116864" y="99747"/>
                  <a:pt x="117055" y="99749"/>
                  <a:pt x="117244" y="99749"/>
                </a:cubicBezTo>
                <a:cubicBezTo>
                  <a:pt x="135157" y="99749"/>
                  <a:pt x="147886" y="81163"/>
                  <a:pt x="150164" y="65418"/>
                </a:cubicBezTo>
                <a:cubicBezTo>
                  <a:pt x="156779" y="19541"/>
                  <a:pt x="117312" y="1"/>
                  <a:pt x="78442" y="1"/>
                </a:cubicBezTo>
                <a:close/>
              </a:path>
            </a:pathLst>
          </a:custGeom>
          <a:solidFill>
            <a:srgbClr val="4DA2C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38" name="Google Shape;1074;p55"/>
          <p:cNvSpPr/>
          <p:nvPr/>
        </p:nvSpPr>
        <p:spPr>
          <a:xfrm flipH="1">
            <a:off x="3339084" y="4858344"/>
            <a:ext cx="1094324" cy="696588"/>
          </a:xfrm>
          <a:custGeom>
            <a:avLst/>
            <a:gdLst/>
            <a:ahLst/>
            <a:cxnLst/>
            <a:rect l="l" t="t" r="r" b="b"/>
            <a:pathLst>
              <a:path w="156780" h="99750" extrusionOk="0">
                <a:moveTo>
                  <a:pt x="78442" y="1"/>
                </a:moveTo>
                <a:cubicBezTo>
                  <a:pt x="38913" y="1"/>
                  <a:pt x="0" y="20209"/>
                  <a:pt x="10798" y="53477"/>
                </a:cubicBezTo>
                <a:cubicBezTo>
                  <a:pt x="16027" y="69606"/>
                  <a:pt x="25323" y="73597"/>
                  <a:pt x="36170" y="73597"/>
                </a:cubicBezTo>
                <a:cubicBezTo>
                  <a:pt x="46794" y="73597"/>
                  <a:pt x="58906" y="69768"/>
                  <a:pt x="70140" y="69768"/>
                </a:cubicBezTo>
                <a:cubicBezTo>
                  <a:pt x="75093" y="69768"/>
                  <a:pt x="79875" y="70512"/>
                  <a:pt x="84284" y="72657"/>
                </a:cubicBezTo>
                <a:cubicBezTo>
                  <a:pt x="98093" y="79362"/>
                  <a:pt x="96492" y="99276"/>
                  <a:pt x="116673" y="99743"/>
                </a:cubicBezTo>
                <a:cubicBezTo>
                  <a:pt x="116864" y="99747"/>
                  <a:pt x="117055" y="99749"/>
                  <a:pt x="117244" y="99749"/>
                </a:cubicBezTo>
                <a:cubicBezTo>
                  <a:pt x="135157" y="99749"/>
                  <a:pt x="147886" y="81163"/>
                  <a:pt x="150164" y="65418"/>
                </a:cubicBezTo>
                <a:cubicBezTo>
                  <a:pt x="156779" y="19541"/>
                  <a:pt x="117312" y="1"/>
                  <a:pt x="78442" y="1"/>
                </a:cubicBezTo>
                <a:close/>
              </a:path>
            </a:pathLst>
          </a:custGeom>
          <a:solidFill>
            <a:srgbClr val="4DA2C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542" name="Google Shape;542;p38"/>
          <p:cNvSpPr txBox="1">
            <a:spLocks noGrp="1"/>
          </p:cNvSpPr>
          <p:nvPr>
            <p:ph type="title"/>
          </p:nvPr>
        </p:nvSpPr>
        <p:spPr>
          <a:xfrm>
            <a:off x="2249833" y="523867"/>
            <a:ext cx="7692400" cy="688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n" sz="4800" dirty="0" smtClean="0">
                <a:solidFill>
                  <a:srgbClr val="4DA2CF"/>
                </a:solidFill>
                <a:latin typeface="Oswald" pitchFamily="2" charset="0"/>
              </a:rPr>
              <a:t>Next steps</a:t>
            </a:r>
            <a:endParaRPr sz="4800" dirty="0">
              <a:solidFill>
                <a:srgbClr val="4DA2CF"/>
              </a:solidFill>
              <a:latin typeface="Oswald" pitchFamily="2" charset="0"/>
            </a:endParaRPr>
          </a:p>
        </p:txBody>
      </p:sp>
      <p:sp>
        <p:nvSpPr>
          <p:cNvPr id="12" name="Google Shape;1073;p55"/>
          <p:cNvSpPr/>
          <p:nvPr/>
        </p:nvSpPr>
        <p:spPr>
          <a:xfrm flipH="1">
            <a:off x="1692633" y="3353378"/>
            <a:ext cx="1094324" cy="696588"/>
          </a:xfrm>
          <a:custGeom>
            <a:avLst/>
            <a:gdLst/>
            <a:ahLst/>
            <a:cxnLst/>
            <a:rect l="l" t="t" r="r" b="b"/>
            <a:pathLst>
              <a:path w="156780" h="99750" extrusionOk="0">
                <a:moveTo>
                  <a:pt x="78442" y="1"/>
                </a:moveTo>
                <a:cubicBezTo>
                  <a:pt x="38913" y="1"/>
                  <a:pt x="0" y="20209"/>
                  <a:pt x="10798" y="53477"/>
                </a:cubicBezTo>
                <a:cubicBezTo>
                  <a:pt x="16027" y="69606"/>
                  <a:pt x="25323" y="73597"/>
                  <a:pt x="36170" y="73597"/>
                </a:cubicBezTo>
                <a:cubicBezTo>
                  <a:pt x="46794" y="73597"/>
                  <a:pt x="58906" y="69768"/>
                  <a:pt x="70140" y="69768"/>
                </a:cubicBezTo>
                <a:cubicBezTo>
                  <a:pt x="75093" y="69768"/>
                  <a:pt x="79875" y="70512"/>
                  <a:pt x="84284" y="72657"/>
                </a:cubicBezTo>
                <a:cubicBezTo>
                  <a:pt x="98093" y="79362"/>
                  <a:pt x="96492" y="99276"/>
                  <a:pt x="116673" y="99743"/>
                </a:cubicBezTo>
                <a:cubicBezTo>
                  <a:pt x="116864" y="99747"/>
                  <a:pt x="117055" y="99749"/>
                  <a:pt x="117244" y="99749"/>
                </a:cubicBezTo>
                <a:cubicBezTo>
                  <a:pt x="135157" y="99749"/>
                  <a:pt x="147886" y="81163"/>
                  <a:pt x="150164" y="65418"/>
                </a:cubicBezTo>
                <a:cubicBezTo>
                  <a:pt x="156779" y="19541"/>
                  <a:pt x="117312" y="1"/>
                  <a:pt x="78442" y="1"/>
                </a:cubicBezTo>
                <a:close/>
              </a:path>
            </a:pathLst>
          </a:cu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39" name="Google Shape;1075;p55"/>
          <p:cNvSpPr/>
          <p:nvPr/>
        </p:nvSpPr>
        <p:spPr>
          <a:xfrm flipH="1">
            <a:off x="347467" y="1700295"/>
            <a:ext cx="1094324" cy="696588"/>
          </a:xfrm>
          <a:custGeom>
            <a:avLst/>
            <a:gdLst/>
            <a:ahLst/>
            <a:cxnLst/>
            <a:rect l="l" t="t" r="r" b="b"/>
            <a:pathLst>
              <a:path w="156780" h="99750" extrusionOk="0">
                <a:moveTo>
                  <a:pt x="78442" y="1"/>
                </a:moveTo>
                <a:cubicBezTo>
                  <a:pt x="38913" y="1"/>
                  <a:pt x="0" y="20209"/>
                  <a:pt x="10798" y="53477"/>
                </a:cubicBezTo>
                <a:cubicBezTo>
                  <a:pt x="16027" y="69606"/>
                  <a:pt x="25323" y="73597"/>
                  <a:pt x="36170" y="73597"/>
                </a:cubicBezTo>
                <a:cubicBezTo>
                  <a:pt x="46794" y="73597"/>
                  <a:pt x="58906" y="69768"/>
                  <a:pt x="70140" y="69768"/>
                </a:cubicBezTo>
                <a:cubicBezTo>
                  <a:pt x="75093" y="69768"/>
                  <a:pt x="79875" y="70512"/>
                  <a:pt x="84284" y="72657"/>
                </a:cubicBezTo>
                <a:cubicBezTo>
                  <a:pt x="98093" y="79362"/>
                  <a:pt x="96492" y="99276"/>
                  <a:pt x="116673" y="99743"/>
                </a:cubicBezTo>
                <a:cubicBezTo>
                  <a:pt x="116864" y="99747"/>
                  <a:pt x="117055" y="99749"/>
                  <a:pt x="117244" y="99749"/>
                </a:cubicBezTo>
                <a:cubicBezTo>
                  <a:pt x="135157" y="99749"/>
                  <a:pt x="147886" y="81163"/>
                  <a:pt x="150164" y="65418"/>
                </a:cubicBezTo>
                <a:cubicBezTo>
                  <a:pt x="156779" y="19541"/>
                  <a:pt x="117312" y="1"/>
                  <a:pt x="78442" y="1"/>
                </a:cubicBezTo>
                <a:close/>
              </a:path>
            </a:pathLst>
          </a:custGeom>
          <a:solidFill>
            <a:srgbClr val="4DA2C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grpSp>
        <p:nvGrpSpPr>
          <p:cNvPr id="16" name="Google Shape;1081;p55"/>
          <p:cNvGrpSpPr/>
          <p:nvPr/>
        </p:nvGrpSpPr>
        <p:grpSpPr>
          <a:xfrm>
            <a:off x="727502" y="1944693"/>
            <a:ext cx="571819" cy="569361"/>
            <a:chOff x="-42062025" y="2316000"/>
            <a:chExt cx="319000" cy="317700"/>
          </a:xfrm>
          <a:solidFill>
            <a:srgbClr val="D7F1FF"/>
          </a:solidFill>
        </p:grpSpPr>
        <p:sp>
          <p:nvSpPr>
            <p:cNvPr id="17" name="Google Shape;1082;p55"/>
            <p:cNvSpPr/>
            <p:nvPr/>
          </p:nvSpPr>
          <p:spPr>
            <a:xfrm>
              <a:off x="-41965150" y="2477075"/>
              <a:ext cx="124475" cy="112675"/>
            </a:xfrm>
            <a:custGeom>
              <a:avLst/>
              <a:gdLst/>
              <a:ahLst/>
              <a:cxnLst/>
              <a:rect l="l" t="t" r="r" b="b"/>
              <a:pathLst>
                <a:path w="4979" h="4507" extrusionOk="0">
                  <a:moveTo>
                    <a:pt x="2521" y="1371"/>
                  </a:moveTo>
                  <a:lnTo>
                    <a:pt x="2773" y="1812"/>
                  </a:lnTo>
                  <a:cubicBezTo>
                    <a:pt x="2836" y="1938"/>
                    <a:pt x="2931" y="2001"/>
                    <a:pt x="3088" y="2064"/>
                  </a:cubicBezTo>
                  <a:lnTo>
                    <a:pt x="3592" y="2127"/>
                  </a:lnTo>
                  <a:lnTo>
                    <a:pt x="3151" y="2473"/>
                  </a:lnTo>
                  <a:cubicBezTo>
                    <a:pt x="3088" y="2568"/>
                    <a:pt x="2994" y="2725"/>
                    <a:pt x="3057" y="2851"/>
                  </a:cubicBezTo>
                  <a:lnTo>
                    <a:pt x="3120" y="3355"/>
                  </a:lnTo>
                  <a:lnTo>
                    <a:pt x="2679" y="3103"/>
                  </a:lnTo>
                  <a:cubicBezTo>
                    <a:pt x="2631" y="3072"/>
                    <a:pt x="2568" y="3056"/>
                    <a:pt x="2501" y="3056"/>
                  </a:cubicBezTo>
                  <a:cubicBezTo>
                    <a:pt x="2434" y="3056"/>
                    <a:pt x="2364" y="3072"/>
                    <a:pt x="2301" y="3103"/>
                  </a:cubicBezTo>
                  <a:lnTo>
                    <a:pt x="1860" y="3355"/>
                  </a:lnTo>
                  <a:lnTo>
                    <a:pt x="1954" y="2851"/>
                  </a:lnTo>
                  <a:cubicBezTo>
                    <a:pt x="1986" y="2725"/>
                    <a:pt x="1891" y="2568"/>
                    <a:pt x="1828" y="2473"/>
                  </a:cubicBezTo>
                  <a:lnTo>
                    <a:pt x="1481" y="2127"/>
                  </a:lnTo>
                  <a:lnTo>
                    <a:pt x="1986" y="2064"/>
                  </a:lnTo>
                  <a:cubicBezTo>
                    <a:pt x="2112" y="2064"/>
                    <a:pt x="2206" y="1938"/>
                    <a:pt x="2301" y="1812"/>
                  </a:cubicBezTo>
                  <a:lnTo>
                    <a:pt x="2521" y="1371"/>
                  </a:lnTo>
                  <a:close/>
                  <a:moveTo>
                    <a:pt x="2474" y="0"/>
                  </a:moveTo>
                  <a:cubicBezTo>
                    <a:pt x="2332" y="0"/>
                    <a:pt x="2190" y="79"/>
                    <a:pt x="2112" y="236"/>
                  </a:cubicBezTo>
                  <a:lnTo>
                    <a:pt x="1576" y="1276"/>
                  </a:lnTo>
                  <a:lnTo>
                    <a:pt x="473" y="1434"/>
                  </a:lnTo>
                  <a:cubicBezTo>
                    <a:pt x="127" y="1465"/>
                    <a:pt x="1" y="1906"/>
                    <a:pt x="253" y="2127"/>
                  </a:cubicBezTo>
                  <a:lnTo>
                    <a:pt x="1040" y="2914"/>
                  </a:lnTo>
                  <a:lnTo>
                    <a:pt x="851" y="4017"/>
                  </a:lnTo>
                  <a:cubicBezTo>
                    <a:pt x="802" y="4291"/>
                    <a:pt x="1028" y="4506"/>
                    <a:pt x="1249" y="4506"/>
                  </a:cubicBezTo>
                  <a:cubicBezTo>
                    <a:pt x="1308" y="4506"/>
                    <a:pt x="1366" y="4491"/>
                    <a:pt x="1418" y="4458"/>
                  </a:cubicBezTo>
                  <a:lnTo>
                    <a:pt x="2427" y="3954"/>
                  </a:lnTo>
                  <a:lnTo>
                    <a:pt x="3403" y="4458"/>
                  </a:lnTo>
                  <a:cubicBezTo>
                    <a:pt x="3465" y="4489"/>
                    <a:pt x="3528" y="4503"/>
                    <a:pt x="3589" y="4503"/>
                  </a:cubicBezTo>
                  <a:cubicBezTo>
                    <a:pt x="3839" y="4503"/>
                    <a:pt x="4052" y="4270"/>
                    <a:pt x="4002" y="4017"/>
                  </a:cubicBezTo>
                  <a:lnTo>
                    <a:pt x="3781" y="2914"/>
                  </a:lnTo>
                  <a:lnTo>
                    <a:pt x="4569" y="2127"/>
                  </a:lnTo>
                  <a:cubicBezTo>
                    <a:pt x="4978" y="1906"/>
                    <a:pt x="4821" y="1465"/>
                    <a:pt x="4474" y="1434"/>
                  </a:cubicBezTo>
                  <a:lnTo>
                    <a:pt x="3372" y="1276"/>
                  </a:lnTo>
                  <a:lnTo>
                    <a:pt x="2836" y="236"/>
                  </a:lnTo>
                  <a:cubicBezTo>
                    <a:pt x="2757" y="79"/>
                    <a:pt x="2616" y="0"/>
                    <a:pt x="24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18" name="Google Shape;1083;p55"/>
            <p:cNvSpPr/>
            <p:nvPr/>
          </p:nvSpPr>
          <p:spPr>
            <a:xfrm>
              <a:off x="-42062025" y="2316000"/>
              <a:ext cx="319000" cy="317700"/>
            </a:xfrm>
            <a:custGeom>
              <a:avLst/>
              <a:gdLst/>
              <a:ahLst/>
              <a:cxnLst/>
              <a:rect l="l" t="t" r="r" b="b"/>
              <a:pathLst>
                <a:path w="12760" h="12708" extrusionOk="0">
                  <a:moveTo>
                    <a:pt x="9610" y="851"/>
                  </a:moveTo>
                  <a:lnTo>
                    <a:pt x="8129" y="2615"/>
                  </a:lnTo>
                  <a:cubicBezTo>
                    <a:pt x="8097" y="2584"/>
                    <a:pt x="8034" y="2584"/>
                    <a:pt x="7940" y="2584"/>
                  </a:cubicBezTo>
                  <a:lnTo>
                    <a:pt x="4821" y="2584"/>
                  </a:lnTo>
                  <a:cubicBezTo>
                    <a:pt x="4758" y="2584"/>
                    <a:pt x="4726" y="2584"/>
                    <a:pt x="4632" y="2615"/>
                  </a:cubicBezTo>
                  <a:lnTo>
                    <a:pt x="3183" y="851"/>
                  </a:lnTo>
                  <a:close/>
                  <a:moveTo>
                    <a:pt x="7530" y="3371"/>
                  </a:moveTo>
                  <a:lnTo>
                    <a:pt x="6396" y="4726"/>
                  </a:lnTo>
                  <a:lnTo>
                    <a:pt x="5293" y="3371"/>
                  </a:lnTo>
                  <a:close/>
                  <a:moveTo>
                    <a:pt x="10555" y="1009"/>
                  </a:moveTo>
                  <a:lnTo>
                    <a:pt x="11783" y="2237"/>
                  </a:lnTo>
                  <a:lnTo>
                    <a:pt x="8759" y="5923"/>
                  </a:lnTo>
                  <a:cubicBezTo>
                    <a:pt x="8255" y="5545"/>
                    <a:pt x="7719" y="5262"/>
                    <a:pt x="7121" y="5136"/>
                  </a:cubicBezTo>
                  <a:lnTo>
                    <a:pt x="10555" y="1009"/>
                  </a:lnTo>
                  <a:close/>
                  <a:moveTo>
                    <a:pt x="2269" y="1040"/>
                  </a:moveTo>
                  <a:lnTo>
                    <a:pt x="5703" y="5199"/>
                  </a:lnTo>
                  <a:cubicBezTo>
                    <a:pt x="5104" y="5293"/>
                    <a:pt x="4506" y="5545"/>
                    <a:pt x="4033" y="5986"/>
                  </a:cubicBezTo>
                  <a:cubicBezTo>
                    <a:pt x="3214" y="4947"/>
                    <a:pt x="1040" y="2269"/>
                    <a:pt x="1040" y="2269"/>
                  </a:cubicBezTo>
                  <a:lnTo>
                    <a:pt x="2269" y="1040"/>
                  </a:lnTo>
                  <a:close/>
                  <a:moveTo>
                    <a:pt x="6349" y="5978"/>
                  </a:moveTo>
                  <a:cubicBezTo>
                    <a:pt x="7097" y="5978"/>
                    <a:pt x="7845" y="6254"/>
                    <a:pt x="8412" y="6805"/>
                  </a:cubicBezTo>
                  <a:lnTo>
                    <a:pt x="8538" y="6932"/>
                  </a:lnTo>
                  <a:cubicBezTo>
                    <a:pt x="8633" y="7026"/>
                    <a:pt x="8727" y="7152"/>
                    <a:pt x="8822" y="7278"/>
                  </a:cubicBezTo>
                  <a:cubicBezTo>
                    <a:pt x="9452" y="8097"/>
                    <a:pt x="9484" y="9168"/>
                    <a:pt x="9137" y="10082"/>
                  </a:cubicBezTo>
                  <a:cubicBezTo>
                    <a:pt x="8662" y="11199"/>
                    <a:pt x="7524" y="11885"/>
                    <a:pt x="6358" y="11885"/>
                  </a:cubicBezTo>
                  <a:cubicBezTo>
                    <a:pt x="5978" y="11885"/>
                    <a:pt x="5595" y="11812"/>
                    <a:pt x="5230" y="11657"/>
                  </a:cubicBezTo>
                  <a:cubicBezTo>
                    <a:pt x="3340" y="10870"/>
                    <a:pt x="2805" y="8412"/>
                    <a:pt x="4159" y="6932"/>
                  </a:cubicBezTo>
                  <a:lnTo>
                    <a:pt x="4285" y="6805"/>
                  </a:lnTo>
                  <a:cubicBezTo>
                    <a:pt x="4852" y="6254"/>
                    <a:pt x="5601" y="5978"/>
                    <a:pt x="6349" y="5978"/>
                  </a:cubicBezTo>
                  <a:close/>
                  <a:moveTo>
                    <a:pt x="2269" y="0"/>
                  </a:moveTo>
                  <a:cubicBezTo>
                    <a:pt x="2143" y="0"/>
                    <a:pt x="2048" y="32"/>
                    <a:pt x="1954" y="95"/>
                  </a:cubicBezTo>
                  <a:lnTo>
                    <a:pt x="158" y="1922"/>
                  </a:lnTo>
                  <a:cubicBezTo>
                    <a:pt x="1" y="2080"/>
                    <a:pt x="1" y="2300"/>
                    <a:pt x="95" y="2458"/>
                  </a:cubicBezTo>
                  <a:lnTo>
                    <a:pt x="3372" y="6522"/>
                  </a:lnTo>
                  <a:cubicBezTo>
                    <a:pt x="1985" y="8255"/>
                    <a:pt x="2395" y="10807"/>
                    <a:pt x="4254" y="12035"/>
                  </a:cubicBezTo>
                  <a:cubicBezTo>
                    <a:pt x="4911" y="12489"/>
                    <a:pt x="5659" y="12708"/>
                    <a:pt x="6397" y="12708"/>
                  </a:cubicBezTo>
                  <a:cubicBezTo>
                    <a:pt x="7606" y="12708"/>
                    <a:pt x="8791" y="12122"/>
                    <a:pt x="9515" y="11027"/>
                  </a:cubicBezTo>
                  <a:cubicBezTo>
                    <a:pt x="10429" y="9641"/>
                    <a:pt x="10397" y="7814"/>
                    <a:pt x="9326" y="6522"/>
                  </a:cubicBezTo>
                  <a:lnTo>
                    <a:pt x="12634" y="2458"/>
                  </a:lnTo>
                  <a:cubicBezTo>
                    <a:pt x="12760" y="2300"/>
                    <a:pt x="12760" y="2080"/>
                    <a:pt x="12603" y="1922"/>
                  </a:cubicBezTo>
                  <a:lnTo>
                    <a:pt x="10775" y="95"/>
                  </a:lnTo>
                  <a:cubicBezTo>
                    <a:pt x="10712" y="32"/>
                    <a:pt x="10555" y="0"/>
                    <a:pt x="1042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2016139" y="3485111"/>
            <a:ext cx="609888" cy="613225"/>
            <a:chOff x="3967539" y="5029051"/>
            <a:chExt cx="609888" cy="613225"/>
          </a:xfrm>
          <a:solidFill>
            <a:srgbClr val="D7F1FF"/>
          </a:solidFill>
        </p:grpSpPr>
        <p:sp>
          <p:nvSpPr>
            <p:cNvPr id="23" name="Google Shape;1088;p55"/>
            <p:cNvSpPr/>
            <p:nvPr/>
          </p:nvSpPr>
          <p:spPr>
            <a:xfrm>
              <a:off x="4215860" y="5029051"/>
              <a:ext cx="109176" cy="107933"/>
            </a:xfrm>
            <a:custGeom>
              <a:avLst/>
              <a:gdLst/>
              <a:ahLst/>
              <a:cxnLst/>
              <a:rect l="l" t="t" r="r" b="b"/>
              <a:pathLst>
                <a:path w="2521" h="2490" extrusionOk="0">
                  <a:moveTo>
                    <a:pt x="1292" y="883"/>
                  </a:moveTo>
                  <a:cubicBezTo>
                    <a:pt x="1512" y="883"/>
                    <a:pt x="1733" y="1072"/>
                    <a:pt x="1733" y="1292"/>
                  </a:cubicBezTo>
                  <a:cubicBezTo>
                    <a:pt x="1701" y="1513"/>
                    <a:pt x="1544" y="1702"/>
                    <a:pt x="1292" y="1702"/>
                  </a:cubicBezTo>
                  <a:cubicBezTo>
                    <a:pt x="1071" y="1702"/>
                    <a:pt x="914" y="1513"/>
                    <a:pt x="914" y="1292"/>
                  </a:cubicBezTo>
                  <a:cubicBezTo>
                    <a:pt x="914" y="1072"/>
                    <a:pt x="1103" y="883"/>
                    <a:pt x="1292" y="883"/>
                  </a:cubicBezTo>
                  <a:close/>
                  <a:moveTo>
                    <a:pt x="1260" y="1"/>
                  </a:moveTo>
                  <a:cubicBezTo>
                    <a:pt x="567" y="1"/>
                    <a:pt x="0" y="568"/>
                    <a:pt x="0" y="1261"/>
                  </a:cubicBezTo>
                  <a:cubicBezTo>
                    <a:pt x="0" y="1923"/>
                    <a:pt x="567" y="2490"/>
                    <a:pt x="1260" y="2490"/>
                  </a:cubicBezTo>
                  <a:cubicBezTo>
                    <a:pt x="1985" y="2490"/>
                    <a:pt x="2520" y="1923"/>
                    <a:pt x="2520" y="1261"/>
                  </a:cubicBezTo>
                  <a:cubicBezTo>
                    <a:pt x="2520" y="599"/>
                    <a:pt x="1985" y="1"/>
                    <a:pt x="126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24" name="Google Shape;1089;p55"/>
            <p:cNvSpPr/>
            <p:nvPr/>
          </p:nvSpPr>
          <p:spPr>
            <a:xfrm>
              <a:off x="4110798" y="5136941"/>
              <a:ext cx="322028" cy="505335"/>
            </a:xfrm>
            <a:custGeom>
              <a:avLst/>
              <a:gdLst/>
              <a:ahLst/>
              <a:cxnLst/>
              <a:rect l="l" t="t" r="r" b="b"/>
              <a:pathLst>
                <a:path w="7436" h="11658" extrusionOk="0">
                  <a:moveTo>
                    <a:pt x="5135" y="851"/>
                  </a:moveTo>
                  <a:cubicBezTo>
                    <a:pt x="5388" y="1324"/>
                    <a:pt x="5419" y="1891"/>
                    <a:pt x="5230" y="2395"/>
                  </a:cubicBezTo>
                  <a:lnTo>
                    <a:pt x="3938" y="1765"/>
                  </a:lnTo>
                  <a:cubicBezTo>
                    <a:pt x="3875" y="1749"/>
                    <a:pt x="3812" y="1741"/>
                    <a:pt x="3749" y="1741"/>
                  </a:cubicBezTo>
                  <a:cubicBezTo>
                    <a:pt x="3686" y="1741"/>
                    <a:pt x="3623" y="1749"/>
                    <a:pt x="3560" y="1765"/>
                  </a:cubicBezTo>
                  <a:lnTo>
                    <a:pt x="2269" y="2395"/>
                  </a:lnTo>
                  <a:cubicBezTo>
                    <a:pt x="2048" y="1891"/>
                    <a:pt x="2080" y="1324"/>
                    <a:pt x="2300" y="851"/>
                  </a:cubicBezTo>
                  <a:close/>
                  <a:moveTo>
                    <a:pt x="4159" y="2742"/>
                  </a:moveTo>
                  <a:lnTo>
                    <a:pt x="4946" y="3151"/>
                  </a:lnTo>
                  <a:lnTo>
                    <a:pt x="4253" y="7530"/>
                  </a:lnTo>
                  <a:lnTo>
                    <a:pt x="3308" y="7530"/>
                  </a:lnTo>
                  <a:lnTo>
                    <a:pt x="2552" y="3151"/>
                  </a:lnTo>
                  <a:lnTo>
                    <a:pt x="3340" y="2742"/>
                  </a:lnTo>
                  <a:lnTo>
                    <a:pt x="3340" y="4569"/>
                  </a:lnTo>
                  <a:cubicBezTo>
                    <a:pt x="3340" y="4789"/>
                    <a:pt x="3529" y="5010"/>
                    <a:pt x="3718" y="5010"/>
                  </a:cubicBezTo>
                  <a:cubicBezTo>
                    <a:pt x="3970" y="5010"/>
                    <a:pt x="4159" y="4789"/>
                    <a:pt x="4159" y="4569"/>
                  </a:cubicBezTo>
                  <a:lnTo>
                    <a:pt x="4159" y="2742"/>
                  </a:lnTo>
                  <a:close/>
                  <a:moveTo>
                    <a:pt x="5388" y="8318"/>
                  </a:moveTo>
                  <a:cubicBezTo>
                    <a:pt x="5608" y="8318"/>
                    <a:pt x="5766" y="8507"/>
                    <a:pt x="5766" y="8727"/>
                  </a:cubicBezTo>
                  <a:lnTo>
                    <a:pt x="5766" y="9169"/>
                  </a:lnTo>
                  <a:lnTo>
                    <a:pt x="1638" y="9169"/>
                  </a:lnTo>
                  <a:lnTo>
                    <a:pt x="1638" y="8727"/>
                  </a:lnTo>
                  <a:cubicBezTo>
                    <a:pt x="1638" y="8507"/>
                    <a:pt x="1827" y="8318"/>
                    <a:pt x="2080" y="8318"/>
                  </a:cubicBezTo>
                  <a:close/>
                  <a:moveTo>
                    <a:pt x="6207" y="9956"/>
                  </a:moveTo>
                  <a:cubicBezTo>
                    <a:pt x="6459" y="9956"/>
                    <a:pt x="6616" y="10145"/>
                    <a:pt x="6616" y="10397"/>
                  </a:cubicBezTo>
                  <a:lnTo>
                    <a:pt x="6616" y="10838"/>
                  </a:lnTo>
                  <a:lnTo>
                    <a:pt x="819" y="10838"/>
                  </a:lnTo>
                  <a:lnTo>
                    <a:pt x="819" y="10397"/>
                  </a:lnTo>
                  <a:cubicBezTo>
                    <a:pt x="819" y="10145"/>
                    <a:pt x="1008" y="9956"/>
                    <a:pt x="1260" y="9956"/>
                  </a:cubicBezTo>
                  <a:close/>
                  <a:moveTo>
                    <a:pt x="2080" y="1"/>
                  </a:moveTo>
                  <a:cubicBezTo>
                    <a:pt x="1922" y="1"/>
                    <a:pt x="1796" y="64"/>
                    <a:pt x="1733" y="190"/>
                  </a:cubicBezTo>
                  <a:cubicBezTo>
                    <a:pt x="1134" y="1040"/>
                    <a:pt x="1134" y="2143"/>
                    <a:pt x="1670" y="3057"/>
                  </a:cubicBezTo>
                  <a:lnTo>
                    <a:pt x="2426" y="7530"/>
                  </a:lnTo>
                  <a:lnTo>
                    <a:pt x="2080" y="7530"/>
                  </a:lnTo>
                  <a:cubicBezTo>
                    <a:pt x="1418" y="7530"/>
                    <a:pt x="819" y="8066"/>
                    <a:pt x="819" y="8759"/>
                  </a:cubicBezTo>
                  <a:lnTo>
                    <a:pt x="819" y="9232"/>
                  </a:lnTo>
                  <a:cubicBezTo>
                    <a:pt x="347" y="9389"/>
                    <a:pt x="0" y="9862"/>
                    <a:pt x="0" y="10429"/>
                  </a:cubicBezTo>
                  <a:lnTo>
                    <a:pt x="0" y="11248"/>
                  </a:lnTo>
                  <a:cubicBezTo>
                    <a:pt x="0" y="11500"/>
                    <a:pt x="189" y="11657"/>
                    <a:pt x="378" y="11657"/>
                  </a:cubicBezTo>
                  <a:lnTo>
                    <a:pt x="6994" y="11657"/>
                  </a:lnTo>
                  <a:cubicBezTo>
                    <a:pt x="7246" y="11657"/>
                    <a:pt x="7435" y="11437"/>
                    <a:pt x="7435" y="11248"/>
                  </a:cubicBezTo>
                  <a:lnTo>
                    <a:pt x="7435" y="10429"/>
                  </a:lnTo>
                  <a:cubicBezTo>
                    <a:pt x="7435" y="9862"/>
                    <a:pt x="7089" y="9452"/>
                    <a:pt x="6616" y="9232"/>
                  </a:cubicBezTo>
                  <a:lnTo>
                    <a:pt x="6616" y="8759"/>
                  </a:lnTo>
                  <a:cubicBezTo>
                    <a:pt x="6616" y="8066"/>
                    <a:pt x="6049" y="7530"/>
                    <a:pt x="5388" y="7530"/>
                  </a:cubicBezTo>
                  <a:lnTo>
                    <a:pt x="5041" y="7530"/>
                  </a:lnTo>
                  <a:lnTo>
                    <a:pt x="5766" y="3057"/>
                  </a:lnTo>
                  <a:cubicBezTo>
                    <a:pt x="6333" y="2206"/>
                    <a:pt x="6301" y="1072"/>
                    <a:pt x="5734" y="190"/>
                  </a:cubicBezTo>
                  <a:cubicBezTo>
                    <a:pt x="5671" y="64"/>
                    <a:pt x="5545" y="1"/>
                    <a:pt x="538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25" name="Google Shape;1090;p55"/>
            <p:cNvSpPr/>
            <p:nvPr/>
          </p:nvSpPr>
          <p:spPr>
            <a:xfrm>
              <a:off x="4398657" y="5207943"/>
              <a:ext cx="178770" cy="177591"/>
            </a:xfrm>
            <a:custGeom>
              <a:avLst/>
              <a:gdLst/>
              <a:ahLst/>
              <a:cxnLst/>
              <a:rect l="l" t="t" r="r" b="b"/>
              <a:pathLst>
                <a:path w="4128" h="4097" extrusionOk="0">
                  <a:moveTo>
                    <a:pt x="2017" y="1324"/>
                  </a:moveTo>
                  <a:lnTo>
                    <a:pt x="2206" y="1671"/>
                  </a:lnTo>
                  <a:cubicBezTo>
                    <a:pt x="2238" y="1734"/>
                    <a:pt x="2332" y="1828"/>
                    <a:pt x="2395" y="1860"/>
                  </a:cubicBezTo>
                  <a:lnTo>
                    <a:pt x="2742" y="2049"/>
                  </a:lnTo>
                  <a:lnTo>
                    <a:pt x="2395" y="2269"/>
                  </a:lnTo>
                  <a:cubicBezTo>
                    <a:pt x="2332" y="2301"/>
                    <a:pt x="2238" y="2364"/>
                    <a:pt x="2206" y="2458"/>
                  </a:cubicBezTo>
                  <a:lnTo>
                    <a:pt x="2017" y="2805"/>
                  </a:lnTo>
                  <a:lnTo>
                    <a:pt x="1797" y="2458"/>
                  </a:lnTo>
                  <a:cubicBezTo>
                    <a:pt x="1765" y="2364"/>
                    <a:pt x="1702" y="2301"/>
                    <a:pt x="1607" y="2269"/>
                  </a:cubicBezTo>
                  <a:lnTo>
                    <a:pt x="1261" y="2049"/>
                  </a:lnTo>
                  <a:lnTo>
                    <a:pt x="1607" y="1860"/>
                  </a:lnTo>
                  <a:cubicBezTo>
                    <a:pt x="1702" y="1828"/>
                    <a:pt x="1765" y="1734"/>
                    <a:pt x="1797" y="1671"/>
                  </a:cubicBezTo>
                  <a:lnTo>
                    <a:pt x="2017" y="1324"/>
                  </a:lnTo>
                  <a:close/>
                  <a:moveTo>
                    <a:pt x="2049" y="1"/>
                  </a:moveTo>
                  <a:cubicBezTo>
                    <a:pt x="1891" y="1"/>
                    <a:pt x="1734" y="95"/>
                    <a:pt x="1702" y="253"/>
                  </a:cubicBezTo>
                  <a:lnTo>
                    <a:pt x="1229" y="1230"/>
                  </a:lnTo>
                  <a:lnTo>
                    <a:pt x="221" y="1702"/>
                  </a:lnTo>
                  <a:cubicBezTo>
                    <a:pt x="64" y="1797"/>
                    <a:pt x="1" y="1891"/>
                    <a:pt x="1" y="2049"/>
                  </a:cubicBezTo>
                  <a:cubicBezTo>
                    <a:pt x="1" y="2206"/>
                    <a:pt x="64" y="2364"/>
                    <a:pt x="221" y="2427"/>
                  </a:cubicBezTo>
                  <a:lnTo>
                    <a:pt x="1229" y="2899"/>
                  </a:lnTo>
                  <a:lnTo>
                    <a:pt x="1702" y="3876"/>
                  </a:lnTo>
                  <a:cubicBezTo>
                    <a:pt x="1765" y="4034"/>
                    <a:pt x="1891" y="4097"/>
                    <a:pt x="2049" y="4097"/>
                  </a:cubicBezTo>
                  <a:cubicBezTo>
                    <a:pt x="2206" y="4097"/>
                    <a:pt x="2364" y="4034"/>
                    <a:pt x="2395" y="3876"/>
                  </a:cubicBezTo>
                  <a:lnTo>
                    <a:pt x="2868" y="2899"/>
                  </a:lnTo>
                  <a:lnTo>
                    <a:pt x="3907" y="2427"/>
                  </a:lnTo>
                  <a:cubicBezTo>
                    <a:pt x="4065" y="2332"/>
                    <a:pt x="4128" y="2206"/>
                    <a:pt x="4128" y="2049"/>
                  </a:cubicBezTo>
                  <a:cubicBezTo>
                    <a:pt x="4128" y="1891"/>
                    <a:pt x="4065" y="1734"/>
                    <a:pt x="3907" y="1702"/>
                  </a:cubicBezTo>
                  <a:lnTo>
                    <a:pt x="2868" y="1230"/>
                  </a:lnTo>
                  <a:lnTo>
                    <a:pt x="2395" y="253"/>
                  </a:lnTo>
                  <a:cubicBezTo>
                    <a:pt x="2332" y="95"/>
                    <a:pt x="2206" y="1"/>
                    <a:pt x="204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26" name="Google Shape;1091;p55"/>
            <p:cNvSpPr/>
            <p:nvPr/>
          </p:nvSpPr>
          <p:spPr>
            <a:xfrm>
              <a:off x="3967539" y="5207943"/>
              <a:ext cx="178770" cy="177591"/>
            </a:xfrm>
            <a:custGeom>
              <a:avLst/>
              <a:gdLst/>
              <a:ahLst/>
              <a:cxnLst/>
              <a:rect l="l" t="t" r="r" b="b"/>
              <a:pathLst>
                <a:path w="4128" h="4097" extrusionOk="0">
                  <a:moveTo>
                    <a:pt x="2048" y="1324"/>
                  </a:moveTo>
                  <a:lnTo>
                    <a:pt x="2237" y="1671"/>
                  </a:lnTo>
                  <a:cubicBezTo>
                    <a:pt x="2269" y="1734"/>
                    <a:pt x="2363" y="1828"/>
                    <a:pt x="2426" y="1860"/>
                  </a:cubicBezTo>
                  <a:lnTo>
                    <a:pt x="2804" y="2049"/>
                  </a:lnTo>
                  <a:lnTo>
                    <a:pt x="2426" y="2269"/>
                  </a:lnTo>
                  <a:cubicBezTo>
                    <a:pt x="2363" y="2301"/>
                    <a:pt x="2269" y="2364"/>
                    <a:pt x="2237" y="2458"/>
                  </a:cubicBezTo>
                  <a:lnTo>
                    <a:pt x="2048" y="2805"/>
                  </a:lnTo>
                  <a:lnTo>
                    <a:pt x="1859" y="2458"/>
                  </a:lnTo>
                  <a:cubicBezTo>
                    <a:pt x="1796" y="2364"/>
                    <a:pt x="1733" y="2301"/>
                    <a:pt x="1638" y="2269"/>
                  </a:cubicBezTo>
                  <a:lnTo>
                    <a:pt x="1292" y="2049"/>
                  </a:lnTo>
                  <a:lnTo>
                    <a:pt x="1638" y="1860"/>
                  </a:lnTo>
                  <a:cubicBezTo>
                    <a:pt x="1733" y="1828"/>
                    <a:pt x="1796" y="1734"/>
                    <a:pt x="1859" y="1671"/>
                  </a:cubicBezTo>
                  <a:lnTo>
                    <a:pt x="2048" y="1324"/>
                  </a:lnTo>
                  <a:close/>
                  <a:moveTo>
                    <a:pt x="2079" y="1"/>
                  </a:moveTo>
                  <a:cubicBezTo>
                    <a:pt x="1922" y="1"/>
                    <a:pt x="1764" y="95"/>
                    <a:pt x="1733" y="253"/>
                  </a:cubicBezTo>
                  <a:lnTo>
                    <a:pt x="1260" y="1230"/>
                  </a:lnTo>
                  <a:lnTo>
                    <a:pt x="221" y="1702"/>
                  </a:lnTo>
                  <a:cubicBezTo>
                    <a:pt x="63" y="1797"/>
                    <a:pt x="0" y="1891"/>
                    <a:pt x="0" y="2049"/>
                  </a:cubicBezTo>
                  <a:cubicBezTo>
                    <a:pt x="0" y="2206"/>
                    <a:pt x="63" y="2364"/>
                    <a:pt x="221" y="2427"/>
                  </a:cubicBezTo>
                  <a:lnTo>
                    <a:pt x="1260" y="2899"/>
                  </a:lnTo>
                  <a:lnTo>
                    <a:pt x="1733" y="3876"/>
                  </a:lnTo>
                  <a:cubicBezTo>
                    <a:pt x="1796" y="4034"/>
                    <a:pt x="1922" y="4097"/>
                    <a:pt x="2079" y="4097"/>
                  </a:cubicBezTo>
                  <a:cubicBezTo>
                    <a:pt x="2237" y="4097"/>
                    <a:pt x="2395" y="4034"/>
                    <a:pt x="2426" y="3876"/>
                  </a:cubicBezTo>
                  <a:lnTo>
                    <a:pt x="2899" y="2899"/>
                  </a:lnTo>
                  <a:lnTo>
                    <a:pt x="3907" y="2427"/>
                  </a:lnTo>
                  <a:cubicBezTo>
                    <a:pt x="4033" y="2364"/>
                    <a:pt x="4127" y="2206"/>
                    <a:pt x="4127" y="2049"/>
                  </a:cubicBezTo>
                  <a:cubicBezTo>
                    <a:pt x="4127" y="1891"/>
                    <a:pt x="4033" y="1734"/>
                    <a:pt x="3907" y="1702"/>
                  </a:cubicBezTo>
                  <a:lnTo>
                    <a:pt x="2899" y="1230"/>
                  </a:lnTo>
                  <a:lnTo>
                    <a:pt x="2426" y="253"/>
                  </a:lnTo>
                  <a:cubicBezTo>
                    <a:pt x="2363" y="95"/>
                    <a:pt x="2237" y="1"/>
                    <a:pt x="207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</p:grpSp>
      <p:sp>
        <p:nvSpPr>
          <p:cNvPr id="43" name="Google Shape;265;p28">
            <a:extLst>
              <a:ext uri="{FF2B5EF4-FFF2-40B4-BE49-F238E27FC236}">
                <a16:creationId xmlns:a16="http://schemas.microsoft.com/office/drawing/2014/main" id="{A40B0B38-A84C-49D4-8ADC-44235CCEE421}"/>
              </a:ext>
            </a:extLst>
          </p:cNvPr>
          <p:cNvSpPr txBox="1">
            <a:spLocks/>
          </p:cNvSpPr>
          <p:nvPr/>
        </p:nvSpPr>
        <p:spPr>
          <a:xfrm>
            <a:off x="1441732" y="1708513"/>
            <a:ext cx="10216867" cy="584776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lvl="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685800" lvl="1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143000" lvl="2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600200" lvl="3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057400" lvl="4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514600" lvl="5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2971800" lvl="6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429000" lvl="7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3886200" lvl="8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1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r>
              <a:rPr lang="de-DE" sz="3200" dirty="0" smtClean="0">
                <a:solidFill>
                  <a:srgbClr val="FB8441"/>
                </a:solidFill>
                <a:latin typeface="Oswald" pitchFamily="2" charset="0"/>
              </a:rPr>
              <a:t>Pilotprojekt </a:t>
            </a:r>
            <a:r>
              <a:rPr lang="de-DE" sz="3200" dirty="0" err="1" smtClean="0">
                <a:solidFill>
                  <a:srgbClr val="FB8441"/>
                </a:solidFill>
                <a:latin typeface="Oswald" pitchFamily="2" charset="0"/>
              </a:rPr>
              <a:t>Lieferando</a:t>
            </a:r>
            <a:r>
              <a:rPr lang="de-DE" sz="3200" dirty="0" smtClean="0">
                <a:solidFill>
                  <a:srgbClr val="FB8441"/>
                </a:solidFill>
                <a:latin typeface="Oswald" pitchFamily="2" charset="0"/>
              </a:rPr>
              <a:t> &amp; Förderung</a:t>
            </a:r>
            <a:endParaRPr lang="de-DE" sz="2800" dirty="0">
              <a:solidFill>
                <a:srgbClr val="FB8441"/>
              </a:solidFill>
              <a:latin typeface="Oswald" pitchFamily="2" charset="0"/>
            </a:endParaRPr>
          </a:p>
        </p:txBody>
      </p:sp>
      <p:sp>
        <p:nvSpPr>
          <p:cNvPr id="44" name="Google Shape;265;p28">
            <a:extLst>
              <a:ext uri="{FF2B5EF4-FFF2-40B4-BE49-F238E27FC236}">
                <a16:creationId xmlns:a16="http://schemas.microsoft.com/office/drawing/2014/main" id="{A40B0B38-A84C-49D4-8ADC-44235CCEE421}"/>
              </a:ext>
            </a:extLst>
          </p:cNvPr>
          <p:cNvSpPr txBox="1">
            <a:spLocks/>
          </p:cNvSpPr>
          <p:nvPr/>
        </p:nvSpPr>
        <p:spPr>
          <a:xfrm>
            <a:off x="2804084" y="3323967"/>
            <a:ext cx="5625471" cy="584776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lvl="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685800" lvl="1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143000" lvl="2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600200" lvl="3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057400" lvl="4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514600" lvl="5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2971800" lvl="6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429000" lvl="7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3886200" lvl="8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1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r>
              <a:rPr lang="de-DE" sz="3200" dirty="0" smtClean="0">
                <a:solidFill>
                  <a:srgbClr val="FB8441"/>
                </a:solidFill>
                <a:latin typeface="Oswald" pitchFamily="2" charset="0"/>
              </a:rPr>
              <a:t>Schnittstellenerweiterung</a:t>
            </a:r>
            <a:endParaRPr lang="de-DE" sz="2800" dirty="0">
              <a:solidFill>
                <a:srgbClr val="FB8441"/>
              </a:solidFill>
              <a:latin typeface="Oswald" pitchFamily="2" charset="0"/>
            </a:endParaRPr>
          </a:p>
        </p:txBody>
      </p:sp>
      <p:sp>
        <p:nvSpPr>
          <p:cNvPr id="45" name="Google Shape;265;p28">
            <a:extLst>
              <a:ext uri="{FF2B5EF4-FFF2-40B4-BE49-F238E27FC236}">
                <a16:creationId xmlns:a16="http://schemas.microsoft.com/office/drawing/2014/main" id="{A40B0B38-A84C-49D4-8ADC-44235CCEE421}"/>
              </a:ext>
            </a:extLst>
          </p:cNvPr>
          <p:cNvSpPr txBox="1">
            <a:spLocks/>
          </p:cNvSpPr>
          <p:nvPr/>
        </p:nvSpPr>
        <p:spPr>
          <a:xfrm>
            <a:off x="4403662" y="4835644"/>
            <a:ext cx="6485407" cy="584776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lvl="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685800" lvl="1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143000" lvl="2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600200" lvl="3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057400" lvl="4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514600" lvl="5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2971800" lvl="6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429000" lvl="7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3886200" lvl="8" indent="-2286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1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r>
              <a:rPr lang="de-DE" sz="3200" dirty="0" smtClean="0">
                <a:solidFill>
                  <a:srgbClr val="FB8441"/>
                </a:solidFill>
                <a:latin typeface="Oswald" pitchFamily="2" charset="0"/>
              </a:rPr>
              <a:t>Ausweitung Anwendungsbereiche</a:t>
            </a:r>
            <a:endParaRPr lang="de-DE" sz="2800" dirty="0">
              <a:solidFill>
                <a:srgbClr val="FB8441"/>
              </a:solidFill>
              <a:latin typeface="Oswald" pitchFamily="2" charset="0"/>
            </a:endParaRPr>
          </a:p>
        </p:txBody>
      </p:sp>
      <p:sp>
        <p:nvSpPr>
          <p:cNvPr id="46" name="Google Shape;1086;p55"/>
          <p:cNvSpPr/>
          <p:nvPr/>
        </p:nvSpPr>
        <p:spPr>
          <a:xfrm>
            <a:off x="3751740" y="5060564"/>
            <a:ext cx="520905" cy="517068"/>
          </a:xfrm>
          <a:custGeom>
            <a:avLst/>
            <a:gdLst/>
            <a:ahLst/>
            <a:cxnLst/>
            <a:rect l="l" t="t" r="r" b="b"/>
            <a:pathLst>
              <a:path w="12760" h="12666" extrusionOk="0">
                <a:moveTo>
                  <a:pt x="2489" y="1639"/>
                </a:moveTo>
                <a:lnTo>
                  <a:pt x="2489" y="3718"/>
                </a:lnTo>
                <a:cubicBezTo>
                  <a:pt x="2489" y="4127"/>
                  <a:pt x="2552" y="4506"/>
                  <a:pt x="2678" y="4884"/>
                </a:cubicBezTo>
                <a:cubicBezTo>
                  <a:pt x="1639" y="4600"/>
                  <a:pt x="820" y="3623"/>
                  <a:pt x="820" y="2458"/>
                </a:cubicBezTo>
                <a:lnTo>
                  <a:pt x="820" y="2048"/>
                </a:lnTo>
                <a:cubicBezTo>
                  <a:pt x="820" y="1796"/>
                  <a:pt x="1009" y="1639"/>
                  <a:pt x="1261" y="1639"/>
                </a:cubicBezTo>
                <a:close/>
                <a:moveTo>
                  <a:pt x="11500" y="1639"/>
                </a:moveTo>
                <a:cubicBezTo>
                  <a:pt x="11720" y="1639"/>
                  <a:pt x="11878" y="1828"/>
                  <a:pt x="11878" y="2048"/>
                </a:cubicBezTo>
                <a:lnTo>
                  <a:pt x="11878" y="2426"/>
                </a:lnTo>
                <a:cubicBezTo>
                  <a:pt x="11878" y="3623"/>
                  <a:pt x="11090" y="4569"/>
                  <a:pt x="10019" y="4884"/>
                </a:cubicBezTo>
                <a:cubicBezTo>
                  <a:pt x="10145" y="4506"/>
                  <a:pt x="10240" y="4127"/>
                  <a:pt x="10240" y="3718"/>
                </a:cubicBezTo>
                <a:lnTo>
                  <a:pt x="10240" y="1639"/>
                </a:lnTo>
                <a:close/>
                <a:moveTo>
                  <a:pt x="9389" y="788"/>
                </a:moveTo>
                <a:lnTo>
                  <a:pt x="9389" y="3686"/>
                </a:lnTo>
                <a:cubicBezTo>
                  <a:pt x="9389" y="4789"/>
                  <a:pt x="8759" y="5860"/>
                  <a:pt x="7656" y="6333"/>
                </a:cubicBezTo>
                <a:cubicBezTo>
                  <a:pt x="7247" y="6522"/>
                  <a:pt x="6932" y="6963"/>
                  <a:pt x="6932" y="7467"/>
                </a:cubicBezTo>
                <a:cubicBezTo>
                  <a:pt x="6932" y="7467"/>
                  <a:pt x="6932" y="7908"/>
                  <a:pt x="7026" y="8507"/>
                </a:cubicBezTo>
                <a:cubicBezTo>
                  <a:pt x="7121" y="8759"/>
                  <a:pt x="7247" y="9074"/>
                  <a:pt x="7341" y="9357"/>
                </a:cubicBezTo>
                <a:lnTo>
                  <a:pt x="5356" y="9357"/>
                </a:lnTo>
                <a:cubicBezTo>
                  <a:pt x="5671" y="8759"/>
                  <a:pt x="5766" y="8066"/>
                  <a:pt x="5766" y="7498"/>
                </a:cubicBezTo>
                <a:cubicBezTo>
                  <a:pt x="5766" y="6994"/>
                  <a:pt x="5451" y="6553"/>
                  <a:pt x="5041" y="6364"/>
                </a:cubicBezTo>
                <a:cubicBezTo>
                  <a:pt x="4569" y="6144"/>
                  <a:pt x="4128" y="5766"/>
                  <a:pt x="3813" y="5293"/>
                </a:cubicBezTo>
                <a:cubicBezTo>
                  <a:pt x="3498" y="4821"/>
                  <a:pt x="3340" y="4285"/>
                  <a:pt x="3340" y="3686"/>
                </a:cubicBezTo>
                <a:lnTo>
                  <a:pt x="3340" y="788"/>
                </a:lnTo>
                <a:close/>
                <a:moveTo>
                  <a:pt x="8696" y="10176"/>
                </a:moveTo>
                <a:lnTo>
                  <a:pt x="9263" y="11846"/>
                </a:lnTo>
                <a:lnTo>
                  <a:pt x="3498" y="11846"/>
                </a:lnTo>
                <a:lnTo>
                  <a:pt x="4033" y="10176"/>
                </a:lnTo>
                <a:close/>
                <a:moveTo>
                  <a:pt x="2930" y="0"/>
                </a:moveTo>
                <a:cubicBezTo>
                  <a:pt x="2710" y="0"/>
                  <a:pt x="2552" y="189"/>
                  <a:pt x="2552" y="410"/>
                </a:cubicBezTo>
                <a:lnTo>
                  <a:pt x="2552" y="851"/>
                </a:lnTo>
                <a:lnTo>
                  <a:pt x="1324" y="851"/>
                </a:lnTo>
                <a:cubicBezTo>
                  <a:pt x="1302" y="850"/>
                  <a:pt x="1280" y="850"/>
                  <a:pt x="1258" y="850"/>
                </a:cubicBezTo>
                <a:cubicBezTo>
                  <a:pt x="506" y="850"/>
                  <a:pt x="1" y="1374"/>
                  <a:pt x="1" y="2048"/>
                </a:cubicBezTo>
                <a:lnTo>
                  <a:pt x="1" y="2426"/>
                </a:lnTo>
                <a:cubicBezTo>
                  <a:pt x="1" y="4190"/>
                  <a:pt x="1355" y="5608"/>
                  <a:pt x="3088" y="5766"/>
                </a:cubicBezTo>
                <a:cubicBezTo>
                  <a:pt x="3498" y="6364"/>
                  <a:pt x="4033" y="6837"/>
                  <a:pt x="4726" y="7120"/>
                </a:cubicBezTo>
                <a:cubicBezTo>
                  <a:pt x="4884" y="7183"/>
                  <a:pt x="4947" y="7309"/>
                  <a:pt x="4947" y="7498"/>
                </a:cubicBezTo>
                <a:cubicBezTo>
                  <a:pt x="4947" y="8097"/>
                  <a:pt x="4726" y="8885"/>
                  <a:pt x="4348" y="9357"/>
                </a:cubicBezTo>
                <a:lnTo>
                  <a:pt x="3718" y="9357"/>
                </a:lnTo>
                <a:cubicBezTo>
                  <a:pt x="3529" y="9357"/>
                  <a:pt x="3372" y="9483"/>
                  <a:pt x="3340" y="9641"/>
                </a:cubicBezTo>
                <a:lnTo>
                  <a:pt x="2521" y="12130"/>
                </a:lnTo>
                <a:cubicBezTo>
                  <a:pt x="2426" y="12382"/>
                  <a:pt x="2615" y="12665"/>
                  <a:pt x="2899" y="12665"/>
                </a:cubicBezTo>
                <a:lnTo>
                  <a:pt x="9799" y="12665"/>
                </a:lnTo>
                <a:cubicBezTo>
                  <a:pt x="10082" y="12665"/>
                  <a:pt x="10271" y="12382"/>
                  <a:pt x="10177" y="12130"/>
                </a:cubicBezTo>
                <a:lnTo>
                  <a:pt x="9357" y="9641"/>
                </a:lnTo>
                <a:cubicBezTo>
                  <a:pt x="9326" y="9483"/>
                  <a:pt x="9168" y="9357"/>
                  <a:pt x="8979" y="9357"/>
                </a:cubicBezTo>
                <a:lnTo>
                  <a:pt x="8349" y="9357"/>
                </a:lnTo>
                <a:cubicBezTo>
                  <a:pt x="7971" y="8885"/>
                  <a:pt x="7751" y="8097"/>
                  <a:pt x="7751" y="7498"/>
                </a:cubicBezTo>
                <a:cubicBezTo>
                  <a:pt x="7751" y="7341"/>
                  <a:pt x="7877" y="7183"/>
                  <a:pt x="7971" y="7152"/>
                </a:cubicBezTo>
                <a:cubicBezTo>
                  <a:pt x="8601" y="6868"/>
                  <a:pt x="9200" y="6396"/>
                  <a:pt x="9610" y="5829"/>
                </a:cubicBezTo>
                <a:cubicBezTo>
                  <a:pt x="10901" y="5734"/>
                  <a:pt x="12004" y="4947"/>
                  <a:pt x="12476" y="3781"/>
                </a:cubicBezTo>
                <a:cubicBezTo>
                  <a:pt x="12760" y="3056"/>
                  <a:pt x="12760" y="2552"/>
                  <a:pt x="12760" y="2080"/>
                </a:cubicBezTo>
                <a:cubicBezTo>
                  <a:pt x="12760" y="1435"/>
                  <a:pt x="12221" y="850"/>
                  <a:pt x="11581" y="850"/>
                </a:cubicBezTo>
                <a:cubicBezTo>
                  <a:pt x="11565" y="850"/>
                  <a:pt x="11548" y="850"/>
                  <a:pt x="11531" y="851"/>
                </a:cubicBezTo>
                <a:lnTo>
                  <a:pt x="10271" y="851"/>
                </a:lnTo>
                <a:lnTo>
                  <a:pt x="10271" y="410"/>
                </a:lnTo>
                <a:cubicBezTo>
                  <a:pt x="10271" y="189"/>
                  <a:pt x="10082" y="0"/>
                  <a:pt x="9830" y="0"/>
                </a:cubicBezTo>
                <a:close/>
              </a:path>
            </a:pathLst>
          </a:custGeom>
          <a:solidFill>
            <a:srgbClr val="D7F1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27" name="Left Arrow 26"/>
          <p:cNvSpPr/>
          <p:nvPr/>
        </p:nvSpPr>
        <p:spPr>
          <a:xfrm rot="13740000">
            <a:off x="1054209" y="2745414"/>
            <a:ext cx="775043" cy="376604"/>
          </a:xfrm>
          <a:prstGeom prst="leftArrow">
            <a:avLst/>
          </a:prstGeom>
          <a:solidFill>
            <a:srgbClr val="FB84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Left Arrow 48"/>
          <p:cNvSpPr/>
          <p:nvPr/>
        </p:nvSpPr>
        <p:spPr>
          <a:xfrm rot="13740000">
            <a:off x="2564974" y="4326038"/>
            <a:ext cx="775043" cy="376604"/>
          </a:xfrm>
          <a:prstGeom prst="leftArrow">
            <a:avLst/>
          </a:prstGeom>
          <a:solidFill>
            <a:srgbClr val="FB84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8" name="Group 47"/>
          <p:cNvGrpSpPr/>
          <p:nvPr/>
        </p:nvGrpSpPr>
        <p:grpSpPr>
          <a:xfrm>
            <a:off x="8332663" y="2309612"/>
            <a:ext cx="3525859" cy="2602371"/>
            <a:chOff x="8332663" y="2309612"/>
            <a:chExt cx="3525859" cy="2602371"/>
          </a:xfrm>
        </p:grpSpPr>
        <p:pic>
          <p:nvPicPr>
            <p:cNvPr id="29" name="Picture 28"/>
            <p:cNvPicPr>
              <a:picLocks noChangeAspect="1"/>
            </p:cNvPicPr>
            <p:nvPr/>
          </p:nvPicPr>
          <p:blipFill rotWithShape="1">
            <a:blip r:embed="rId7"/>
            <a:srcRect l="69981" t="7597"/>
            <a:stretch/>
          </p:blipFill>
          <p:spPr>
            <a:xfrm>
              <a:off x="10829177" y="2435290"/>
              <a:ext cx="1029345" cy="2476693"/>
            </a:xfrm>
            <a:prstGeom prst="rect">
              <a:avLst/>
            </a:prstGeom>
          </p:spPr>
        </p:pic>
        <p:pic>
          <p:nvPicPr>
            <p:cNvPr id="47" name="Picture 46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332663" y="2309612"/>
              <a:ext cx="2514666" cy="123556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335177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 animBg="1"/>
      <p:bldP spid="38" grpId="0" animBg="1"/>
      <p:bldP spid="39" grpId="0" animBg="1"/>
      <p:bldP spid="43" grpId="0"/>
      <p:bldP spid="44" grpId="0"/>
      <p:bldP spid="45" grpId="0"/>
      <p:bldP spid="46" grpId="0" animBg="1"/>
      <p:bldP spid="27" grpId="0" animBg="1"/>
      <p:bldP spid="49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6" name="Grafik 95">
            <a:extLst>
              <a:ext uri="{FF2B5EF4-FFF2-40B4-BE49-F238E27FC236}">
                <a16:creationId xmlns:a16="http://schemas.microsoft.com/office/drawing/2014/main" id="{9FE7A01A-55B1-4157-AE69-32A0604C387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/>
          <a:stretch/>
        </p:blipFill>
        <p:spPr>
          <a:xfrm>
            <a:off x="5071647" y="4276422"/>
            <a:ext cx="2048704" cy="2048704"/>
          </a:xfrm>
          <a:prstGeom prst="ellipse">
            <a:avLst/>
          </a:prstGeom>
        </p:spPr>
      </p:pic>
      <p:pic>
        <p:nvPicPr>
          <p:cNvPr id="97" name="Grafik 96">
            <a:extLst>
              <a:ext uri="{FF2B5EF4-FFF2-40B4-BE49-F238E27FC236}">
                <a16:creationId xmlns:a16="http://schemas.microsoft.com/office/drawing/2014/main" id="{3DBAFB78-5C43-4660-945E-84DE461873C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8765" y="1151622"/>
            <a:ext cx="3123306" cy="3123306"/>
          </a:xfrm>
          <a:prstGeom prst="ellipse">
            <a:avLst/>
          </a:prstGeom>
        </p:spPr>
      </p:pic>
      <p:pic>
        <p:nvPicPr>
          <p:cNvPr id="98" name="Grafik 97">
            <a:extLst>
              <a:ext uri="{FF2B5EF4-FFF2-40B4-BE49-F238E27FC236}">
                <a16:creationId xmlns:a16="http://schemas.microsoft.com/office/drawing/2014/main" id="{CE5721EA-FB6E-431B-85D3-E64A923A36B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/>
          <a:stretch/>
        </p:blipFill>
        <p:spPr>
          <a:xfrm>
            <a:off x="8242344" y="1026116"/>
            <a:ext cx="3124800" cy="3124800"/>
          </a:xfrm>
          <a:prstGeom prst="ellipse">
            <a:avLst/>
          </a:prstGeom>
        </p:spPr>
      </p:pic>
      <p:pic>
        <p:nvPicPr>
          <p:cNvPr id="99" name="Picture 8">
            <a:extLst>
              <a:ext uri="{FF2B5EF4-FFF2-40B4-BE49-F238E27FC236}">
                <a16:creationId xmlns:a16="http://schemas.microsoft.com/office/drawing/2014/main" id="{0D09BE00-A8E3-47B0-A625-28FC2ED999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5339" y="1461407"/>
            <a:ext cx="2503737" cy="2503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rgbClr val="4DA2CF"/>
            </a:gs>
            <a:gs pos="50000">
              <a:schemeClr val="accent1">
                <a:lumMod val="5000"/>
                <a:lumOff val="95000"/>
              </a:schemeClr>
            </a:gs>
            <a:gs pos="0">
              <a:srgbClr val="FB8441">
                <a:lumMod val="100000"/>
              </a:srgb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7390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7" name="think-cell Slide" r:id="rId4" imgW="233" imgH="233" progId="TCLayout.ActiveDocument.1">
                  <p:embed/>
                </p:oleObj>
              </mc:Choice>
              <mc:Fallback>
                <p:oleObj name="think-cell Slide" r:id="rId4" imgW="233" imgH="2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" name="Grafik 30" descr="Ein Bild, das Person, drinnen, Wand, lächelnd enthält.&#10;&#10;Automatisch generierte Beschreibung">
            <a:extLst>
              <a:ext uri="{FF2B5EF4-FFF2-40B4-BE49-F238E27FC236}">
                <a16:creationId xmlns:a16="http://schemas.microsoft.com/office/drawing/2014/main" id="{7F6D9A42-081F-4DC9-8B8F-FEBAE26FC1F6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72" b="12082"/>
          <a:stretch/>
        </p:blipFill>
        <p:spPr>
          <a:xfrm>
            <a:off x="1085463" y="4802592"/>
            <a:ext cx="1440000" cy="1440000"/>
          </a:xfrm>
          <a:prstGeom prst="ellipse">
            <a:avLst/>
          </a:prstGeom>
        </p:spPr>
      </p:pic>
      <p:sp>
        <p:nvSpPr>
          <p:cNvPr id="21" name="Textfeld 20">
            <a:extLst>
              <a:ext uri="{FF2B5EF4-FFF2-40B4-BE49-F238E27FC236}">
                <a16:creationId xmlns:a16="http://schemas.microsoft.com/office/drawing/2014/main" id="{BADDE8AB-4A70-46DF-B403-7C779BD5810D}"/>
              </a:ext>
            </a:extLst>
          </p:cNvPr>
          <p:cNvSpPr txBox="1"/>
          <p:nvPr/>
        </p:nvSpPr>
        <p:spPr>
          <a:xfrm>
            <a:off x="3187981" y="1333007"/>
            <a:ext cx="597583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i="1" dirty="0">
                <a:latin typeface="Tw Cen MT" panose="020B0602020104020603" pitchFamily="34" charset="0"/>
              </a:rPr>
              <a:t>Mit unserer </a:t>
            </a:r>
            <a:r>
              <a:rPr lang="en-US" sz="2800" i="1" dirty="0" err="1" smtClean="0">
                <a:latin typeface="Impact" panose="020B0806030902050204" pitchFamily="34" charset="0"/>
              </a:rPr>
              <a:t>SafeRider</a:t>
            </a:r>
            <a:r>
              <a:rPr lang="en-US" sz="2800" i="1" dirty="0" smtClean="0">
                <a:latin typeface="Tw Cen MT" panose="020B0602020104020603" pitchFamily="34" charset="0"/>
              </a:rPr>
              <a:t> </a:t>
            </a:r>
            <a:r>
              <a:rPr lang="de-DE" sz="3200" i="1" dirty="0" smtClean="0">
                <a:latin typeface="Tw Cen MT" panose="020B0602020104020603" pitchFamily="34" charset="0"/>
              </a:rPr>
              <a:t>Brille </a:t>
            </a:r>
            <a:r>
              <a:rPr lang="de-DE" sz="3200" i="1" dirty="0">
                <a:latin typeface="Tw Cen MT" panose="020B0602020104020603" pitchFamily="34" charset="0"/>
              </a:rPr>
              <a:t>bieten wir Fahrradfahrern einen hohen Zuwachs an Sicherheit und Komfort, da sie die Straße permanent im Blick behalten können. </a:t>
            </a:r>
          </a:p>
        </p:txBody>
      </p:sp>
      <p:pic>
        <p:nvPicPr>
          <p:cNvPr id="23" name="Grafik 22" descr="Ein Bild, das Person, Wand, drinnen enthält.&#10;&#10;Automatisch generierte Beschreibung">
            <a:extLst>
              <a:ext uri="{FF2B5EF4-FFF2-40B4-BE49-F238E27FC236}">
                <a16:creationId xmlns:a16="http://schemas.microsoft.com/office/drawing/2014/main" id="{EF5848EA-9CA1-4E61-BD9A-BA8EE25242B8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2" t="6535" r="-2362" b="16261"/>
          <a:stretch/>
        </p:blipFill>
        <p:spPr>
          <a:xfrm>
            <a:off x="10378496" y="2522917"/>
            <a:ext cx="1440000" cy="1440000"/>
          </a:xfrm>
          <a:prstGeom prst="ellipse">
            <a:avLst/>
          </a:prstGeom>
        </p:spPr>
      </p:pic>
      <p:pic>
        <p:nvPicPr>
          <p:cNvPr id="25" name="Grafik 24" descr="Ein Bild, das Person, Wand, drinnen, darstellend enthält.&#10;&#10;Automatisch generierte Beschreibung">
            <a:extLst>
              <a:ext uri="{FF2B5EF4-FFF2-40B4-BE49-F238E27FC236}">
                <a16:creationId xmlns:a16="http://schemas.microsoft.com/office/drawing/2014/main" id="{1128743B-9DBD-4E0B-AF92-BE36304BA4D3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93" b="15587"/>
          <a:stretch/>
        </p:blipFill>
        <p:spPr>
          <a:xfrm>
            <a:off x="1130642" y="166500"/>
            <a:ext cx="1440000" cy="1440000"/>
          </a:xfrm>
          <a:prstGeom prst="ellipse">
            <a:avLst/>
          </a:prstGeom>
        </p:spPr>
      </p:pic>
      <p:pic>
        <p:nvPicPr>
          <p:cNvPr id="27" name="Grafik 26" descr="Ein Bild, das Person, drinnen, Wand, jung enthält.&#10;&#10;Automatisch generierte Beschreibung">
            <a:extLst>
              <a:ext uri="{FF2B5EF4-FFF2-40B4-BE49-F238E27FC236}">
                <a16:creationId xmlns:a16="http://schemas.microsoft.com/office/drawing/2014/main" id="{CC907F2A-D869-4AFD-8B97-88BC30D3E750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7" b="797"/>
          <a:stretch/>
        </p:blipFill>
        <p:spPr>
          <a:xfrm>
            <a:off x="9484148" y="4802592"/>
            <a:ext cx="1440000" cy="1440000"/>
          </a:xfrm>
          <a:prstGeom prst="ellipse">
            <a:avLst/>
          </a:prstGeom>
        </p:spPr>
      </p:pic>
      <p:pic>
        <p:nvPicPr>
          <p:cNvPr id="29" name="Grafik 28" descr="Ein Bild, das Person, draußen, Wasser, Badeanzug enthält.&#10;&#10;Automatisch generierte Beschreibung">
            <a:extLst>
              <a:ext uri="{FF2B5EF4-FFF2-40B4-BE49-F238E27FC236}">
                <a16:creationId xmlns:a16="http://schemas.microsoft.com/office/drawing/2014/main" id="{5D57171F-3472-4E37-9703-07879BB98D63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20" b="4120"/>
          <a:stretch/>
        </p:blipFill>
        <p:spPr>
          <a:xfrm>
            <a:off x="210943" y="2540776"/>
            <a:ext cx="1440000" cy="1440000"/>
          </a:xfrm>
          <a:prstGeom prst="ellipse">
            <a:avLst/>
          </a:prstGeom>
        </p:spPr>
      </p:pic>
      <p:pic>
        <p:nvPicPr>
          <p:cNvPr id="33" name="Grafik 32" descr="Ein Bild, das Person, Wand, Mann, drinnen enthält.&#10;&#10;Automatisch generierte Beschreibung">
            <a:extLst>
              <a:ext uri="{FF2B5EF4-FFF2-40B4-BE49-F238E27FC236}">
                <a16:creationId xmlns:a16="http://schemas.microsoft.com/office/drawing/2014/main" id="{FCC44B78-183A-43F0-AA35-3F454BB0BF9F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8" b="1378"/>
          <a:stretch/>
        </p:blipFill>
        <p:spPr>
          <a:xfrm>
            <a:off x="9314249" y="166500"/>
            <a:ext cx="1440000" cy="1440000"/>
          </a:xfrm>
          <a:prstGeom prst="ellipse">
            <a:avLst/>
          </a:prstGeom>
        </p:spPr>
      </p:pic>
      <p:pic>
        <p:nvPicPr>
          <p:cNvPr id="3" name="Grafik 2" descr="Öffnendes Anführungszeichen mit einfarbiger Füllung">
            <a:extLst>
              <a:ext uri="{FF2B5EF4-FFF2-40B4-BE49-F238E27FC236}">
                <a16:creationId xmlns:a16="http://schemas.microsoft.com/office/drawing/2014/main" id="{368F4443-E16A-49EE-A208-A0EBEAFFCFD2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3"/>
              </a:ext>
            </a:extLst>
          </a:blip>
          <a:stretch>
            <a:fillRect/>
          </a:stretch>
        </p:blipFill>
        <p:spPr>
          <a:xfrm>
            <a:off x="2700410" y="587035"/>
            <a:ext cx="914400" cy="914400"/>
          </a:xfrm>
          <a:prstGeom prst="rect">
            <a:avLst/>
          </a:prstGeom>
        </p:spPr>
      </p:pic>
      <p:pic>
        <p:nvPicPr>
          <p:cNvPr id="13" name="Grafik 12" descr="Öffnendes Anführungszeichen mit einfarbiger Füllung">
            <a:extLst>
              <a:ext uri="{FF2B5EF4-FFF2-40B4-BE49-F238E27FC236}">
                <a16:creationId xmlns:a16="http://schemas.microsoft.com/office/drawing/2014/main" id="{827F9CE7-87EB-44D1-BA4E-1C90CD745351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3"/>
              </a:ext>
            </a:extLst>
          </a:blip>
          <a:stretch>
            <a:fillRect/>
          </a:stretch>
        </p:blipFill>
        <p:spPr>
          <a:xfrm rot="10800000">
            <a:off x="8399557" y="3719124"/>
            <a:ext cx="914400" cy="914400"/>
          </a:xfrm>
          <a:prstGeom prst="rect">
            <a:avLst/>
          </a:prstGeom>
        </p:spPr>
      </p:pic>
      <p:pic>
        <p:nvPicPr>
          <p:cNvPr id="4098" name="Picture 2" descr="File:Huawei Standard logo.svg - Wikipedia"/>
          <p:cNvPicPr>
            <a:picLocks noChangeAspect="1" noChangeArrowheads="1"/>
          </p:cNvPicPr>
          <p:nvPr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0467" y="4347520"/>
            <a:ext cx="1710826" cy="1737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3663061" y="5596261"/>
            <a:ext cx="224070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i="1" dirty="0" err="1" smtClean="0">
                <a:latin typeface="Impact" panose="020B0806030902050204" pitchFamily="34" charset="0"/>
              </a:rPr>
              <a:t>SafeRider</a:t>
            </a:r>
            <a:endParaRPr lang="en-US" b="1" i="1" dirty="0">
              <a:latin typeface="Impact" panose="020B0806030902050204" pitchFamily="34" charset="0"/>
            </a:endParaRPr>
          </a:p>
        </p:txBody>
      </p:sp>
      <p:pic>
        <p:nvPicPr>
          <p:cNvPr id="16" name="Grafik 2" descr="Ein Bild, das Text enthält.&#10;&#10;Automatisch generierte Beschreibung">
            <a:extLst>
              <a:ext uri="{FF2B5EF4-FFF2-40B4-BE49-F238E27FC236}">
                <a16:creationId xmlns:a16="http://schemas.microsoft.com/office/drawing/2014/main" id="{C0EACF73-992C-4B49-A65C-54C8742262CF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ackgroundRemoval t="28741" b="84000" l="15917" r="8808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4301" t="28762" r="14433" b="17843"/>
          <a:stretch/>
        </p:blipFill>
        <p:spPr>
          <a:xfrm>
            <a:off x="3157610" y="4646002"/>
            <a:ext cx="2688864" cy="63301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" name="Rounded Rectangle 4"/>
          <p:cNvSpPr/>
          <p:nvPr/>
        </p:nvSpPr>
        <p:spPr>
          <a:xfrm>
            <a:off x="2889815" y="1333007"/>
            <a:ext cx="6153469" cy="2554545"/>
          </a:xfrm>
          <a:prstGeom prst="roundRect">
            <a:avLst/>
          </a:prstGeom>
          <a:noFill/>
          <a:ln w="381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 flipV="1">
            <a:off x="6104899" y="4121017"/>
            <a:ext cx="0" cy="219092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6053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5</Words>
  <Application>Microsoft Office PowerPoint</Application>
  <PresentationFormat>Widescreen</PresentationFormat>
  <Paragraphs>13</Paragraphs>
  <Slides>7</Slides>
  <Notes>3</Notes>
  <HiddenSlides>0</HiddenSlides>
  <MMClips>1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6" baseType="lpstr">
      <vt:lpstr>Arial</vt:lpstr>
      <vt:lpstr>Calibri</vt:lpstr>
      <vt:lpstr>Calibri Light</vt:lpstr>
      <vt:lpstr>Impact</vt:lpstr>
      <vt:lpstr>Lato</vt:lpstr>
      <vt:lpstr>Oswald</vt:lpstr>
      <vt:lpstr>Tw Cen MT</vt:lpstr>
      <vt:lpstr>Benutzerdefiniertes Design</vt:lpstr>
      <vt:lpstr>think-cell Slide</vt:lpstr>
      <vt:lpstr>PowerPoint Presentation</vt:lpstr>
      <vt:lpstr>PowerPoint Presentation</vt:lpstr>
      <vt:lpstr>PowerPoint Presentation</vt:lpstr>
      <vt:lpstr>PowerPoint Presentation</vt:lpstr>
      <vt:lpstr>Next steps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Jens Hellstern</dc:creator>
  <cp:lastModifiedBy>Piendl, Tom (096)</cp:lastModifiedBy>
  <cp:revision>54</cp:revision>
  <dcterms:created xsi:type="dcterms:W3CDTF">2020-12-01T06:22:24Z</dcterms:created>
  <dcterms:modified xsi:type="dcterms:W3CDTF">2021-02-28T10:44:15Z</dcterms:modified>
</cp:coreProperties>
</file>